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86" r:id="rId2"/>
    <p:sldId id="289" r:id="rId3"/>
    <p:sldId id="288" r:id="rId4"/>
    <p:sldId id="298" r:id="rId5"/>
    <p:sldId id="325" r:id="rId6"/>
  </p:sldIdLst>
  <p:sldSz cx="12192000" cy="6858000"/>
  <p:notesSz cx="6858000" cy="9144000"/>
  <p:defaultTextStyle>
    <a:defPPr>
      <a:defRPr lang="ru-RU"/>
    </a:defPPr>
    <a:lvl1pPr marL="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основное" id="{A2CB060C-BE95-44A8-A090-AC703783A304}">
          <p14:sldIdLst>
            <p14:sldId id="286"/>
            <p14:sldId id="289"/>
            <p14:sldId id="288"/>
            <p14:sldId id="298"/>
            <p14:sldId id="325"/>
          </p14:sldIdLst>
        </p14:section>
        <p14:section name="инфо" id="{8C819DC1-48BC-4DC7-8244-33A50C000193}">
          <p14:sldIdLst/>
        </p14:section>
        <p14:section name="лого" id="{1FFFA86E-2026-4969-BE35-179FF3335903}">
          <p14:sldIdLst/>
        </p14:section>
        <p14:section name="варианты" id="{3CF89B80-C9BB-4091-BE31-0EBC088E44F7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z Kairat" initials="KK" lastIdx="3" clrIdx="0">
    <p:extLst>
      <p:ext uri="{19B8F6BF-5375-455C-9EA6-DF929625EA0E}">
        <p15:presenceInfo xmlns:p15="http://schemas.microsoft.com/office/powerpoint/2012/main" userId="4fa9e1764401132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1ACAB"/>
    <a:srgbClr val="F79646"/>
    <a:srgbClr val="143452"/>
    <a:srgbClr val="C45B57"/>
    <a:srgbClr val="FABA86"/>
    <a:srgbClr val="C76765"/>
    <a:srgbClr val="C05350"/>
    <a:srgbClr val="AA3F3C"/>
    <a:srgbClr val="883230"/>
    <a:srgbClr val="BF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552" autoAdjust="0"/>
  </p:normalViewPr>
  <p:slideViewPr>
    <p:cSldViewPr snapToGrid="0">
      <p:cViewPr varScale="1">
        <p:scale>
          <a:sx n="107" d="100"/>
          <a:sy n="107" d="100"/>
        </p:scale>
        <p:origin x="6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389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6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1FC-48D1-A079-1FC458581DD9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1FC-48D1-A079-1FC458581DD9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8</c:v>
                </c:pt>
                <c:pt idx="1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FC-48D1-A079-1FC458581D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DDE2CD-0B85-4723-A90B-EAAE6D9D7E17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7887F-116E-4D8D-A06A-D86DAA4A7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3486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6.bin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2.bin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3.bin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4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5.bin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9C48AD-65D4-452A-ACAE-E0890CEDF2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1779A15D-03FA-42FF-89DF-2DF3B18674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09599" y="2684835"/>
            <a:ext cx="10972802" cy="148833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defRPr lang="en-GB" sz="4000" b="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372986"/>
            <a:r>
              <a:rPr lang="ru-RU" dirty="0"/>
              <a:t>Наименование проекта</a:t>
            </a:r>
            <a:endParaRPr lang="en-GB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538DCBED-2335-4678-8F83-B693E2206D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" y="6010331"/>
            <a:ext cx="3505200" cy="30698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600" b="0">
                <a:solidFill>
                  <a:schemeClr val="bg1">
                    <a:lumMod val="85000"/>
                  </a:schemeClr>
                </a:solidFill>
                <a:latin typeface="+mn-lt"/>
                <a:ea typeface="+mj-ea"/>
                <a:cs typeface="Segoe UI Semilight" panose="020B0402040204020203" pitchFamily="34" charset="0"/>
              </a:defRPr>
            </a:lvl1pPr>
          </a:lstStyle>
          <a:p>
            <a:pPr marL="57159" lvl="0" indent="-28575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dirty="0"/>
              <a:t>Дата</a:t>
            </a:r>
            <a:endParaRPr lang="en-GB" dirty="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9966972-8395-427E-A03C-D8FD13A7EAB6}"/>
              </a:ext>
            </a:extLst>
          </p:cNvPr>
          <p:cNvGrpSpPr/>
          <p:nvPr userDrawn="1"/>
        </p:nvGrpSpPr>
        <p:grpSpPr>
          <a:xfrm>
            <a:off x="538896" y="603588"/>
            <a:ext cx="1630372" cy="1058028"/>
            <a:chOff x="10852150" y="257175"/>
            <a:chExt cx="1048897" cy="680680"/>
          </a:xfrm>
        </p:grpSpPr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1CFA6215-4040-4E60-A86B-97B64F94CBAC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id="{B88FFAFB-BA29-4995-95C7-E516E6338248}"/>
                </a:ext>
              </a:extLst>
            </p:cNvPr>
            <p:cNvGrpSpPr/>
            <p:nvPr/>
          </p:nvGrpSpPr>
          <p:grpSpPr>
            <a:xfrm>
              <a:off x="10852150" y="261205"/>
              <a:ext cx="1048897" cy="676650"/>
              <a:chOff x="882522" y="2286000"/>
              <a:chExt cx="3248295" cy="2095500"/>
            </a:xfrm>
          </p:grpSpPr>
          <p:grpSp>
            <p:nvGrpSpPr>
              <p:cNvPr id="8" name="Группа 7">
                <a:extLst>
                  <a:ext uri="{FF2B5EF4-FFF2-40B4-BE49-F238E27FC236}">
                    <a16:creationId xmlns:a16="http://schemas.microsoft.com/office/drawing/2014/main" id="{EE925C3E-89DB-4294-889D-2A0B5D9B1890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13" name="Прямоугольник 15">
                  <a:extLst>
                    <a:ext uri="{FF2B5EF4-FFF2-40B4-BE49-F238E27FC236}">
                      <a16:creationId xmlns:a16="http://schemas.microsoft.com/office/drawing/2014/main" id="{E869EB09-31AF-4CAF-9A6A-A557F81C5B4F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5" name="Прямоугольник 14">
                  <a:extLst>
                    <a:ext uri="{FF2B5EF4-FFF2-40B4-BE49-F238E27FC236}">
                      <a16:creationId xmlns:a16="http://schemas.microsoft.com/office/drawing/2014/main" id="{641707D2-9161-4EBF-A094-281EF1265E1F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" name="Прямоугольник 15">
                  <a:extLst>
                    <a:ext uri="{FF2B5EF4-FFF2-40B4-BE49-F238E27FC236}">
                      <a16:creationId xmlns:a16="http://schemas.microsoft.com/office/drawing/2014/main" id="{D25F6B1F-9E0A-4271-9008-A14598C14103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7" name="Прямоугольник 15">
                  <a:extLst>
                    <a:ext uri="{FF2B5EF4-FFF2-40B4-BE49-F238E27FC236}">
                      <a16:creationId xmlns:a16="http://schemas.microsoft.com/office/drawing/2014/main" id="{E518414E-3E3E-4AB2-88DD-7DD3042E14F5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8" name="Прямоугольник 17">
                  <a:extLst>
                    <a:ext uri="{FF2B5EF4-FFF2-40B4-BE49-F238E27FC236}">
                      <a16:creationId xmlns:a16="http://schemas.microsoft.com/office/drawing/2014/main" id="{27AFBFB1-DD92-489B-AFD3-E592C1F26706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9" name="Прямоугольник 18">
                  <a:extLst>
                    <a:ext uri="{FF2B5EF4-FFF2-40B4-BE49-F238E27FC236}">
                      <a16:creationId xmlns:a16="http://schemas.microsoft.com/office/drawing/2014/main" id="{317B0B8F-AB5E-4701-A72F-8883D77FE879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9" name="Группа 8">
                <a:extLst>
                  <a:ext uri="{FF2B5EF4-FFF2-40B4-BE49-F238E27FC236}">
                    <a16:creationId xmlns:a16="http://schemas.microsoft.com/office/drawing/2014/main" id="{3928610C-3726-4B22-9E9E-3D6743FD7C9E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11" name="Прямоугольник 10">
                  <a:extLst>
                    <a:ext uri="{FF2B5EF4-FFF2-40B4-BE49-F238E27FC236}">
                      <a16:creationId xmlns:a16="http://schemas.microsoft.com/office/drawing/2014/main" id="{263392BA-9714-4C32-A877-D2A28D0465F0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" name="Прямоугольник 11">
                  <a:extLst>
                    <a:ext uri="{FF2B5EF4-FFF2-40B4-BE49-F238E27FC236}">
                      <a16:creationId xmlns:a16="http://schemas.microsoft.com/office/drawing/2014/main" id="{28F8D1F0-A36A-44C3-ADF7-727A18ED1824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10" name="Объект 9">
                <a:extLst>
                  <a:ext uri="{FF2B5EF4-FFF2-40B4-BE49-F238E27FC236}">
                    <a16:creationId xmlns:a16="http://schemas.microsoft.com/office/drawing/2014/main" id="{4727E89A-FD2C-499A-B0C1-3B9AD28DCE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95972293"/>
                  </p:ext>
                </p:extLst>
              </p:nvPr>
            </p:nvGraphicFramePr>
            <p:xfrm>
              <a:off x="2176349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3" imgW="2485800" imgH="2665268" progId="CorelDraw.Graphic.21">
                      <p:embed/>
                    </p:oleObj>
                  </mc:Choice>
                  <mc:Fallback>
                    <p:oleObj name="CorelDRAW" r:id="rId3" imgW="2485800" imgH="2665268" progId="CorelDraw.Graphic.21">
                      <p:embed/>
                      <p:pic>
                        <p:nvPicPr>
                          <p:cNvPr id="10" name="Объект 9">
                            <a:extLst>
                              <a:ext uri="{FF2B5EF4-FFF2-40B4-BE49-F238E27FC236}">
                                <a16:creationId xmlns:a16="http://schemas.microsoft.com/office/drawing/2014/main" id="{4727E89A-FD2C-499A-B0C1-3B9AD28DCE35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4"/>
                          <a:stretch>
                            <a:fillRect/>
                          </a:stretch>
                        </p:blipFill>
                        <p:spPr>
                          <a:xfrm>
                            <a:off x="2176349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244D3BD0-8631-459B-9608-9715CA7468F7}"/>
              </a:ext>
            </a:extLst>
          </p:cNvPr>
          <p:cNvSpPr txBox="1"/>
          <p:nvPr userDrawn="1"/>
        </p:nvSpPr>
        <p:spPr>
          <a:xfrm>
            <a:off x="2352378" y="654926"/>
            <a:ext cx="523299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SegoeUI"/>
              </a:defRPr>
            </a:lvl1pPr>
          </a:lstStyle>
          <a:p>
            <a:r>
              <a:rPr lang="ru-RU" sz="2500" b="1" dirty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</p:spTree>
    <p:extLst>
      <p:ext uri="{BB962C8B-B14F-4D97-AF65-F5344CB8AC3E}">
        <p14:creationId xmlns:p14="http://schemas.microsoft.com/office/powerpoint/2010/main" val="120832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02CFB499-6E18-4EE9-81B8-7895C7F60744}"/>
              </a:ext>
            </a:extLst>
          </p:cNvPr>
          <p:cNvGrpSpPr/>
          <p:nvPr userDrawn="1"/>
        </p:nvGrpSpPr>
        <p:grpSpPr>
          <a:xfrm>
            <a:off x="10967615" y="5997575"/>
            <a:ext cx="895333" cy="581025"/>
            <a:chOff x="10852150" y="257175"/>
            <a:chExt cx="1048897" cy="680680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8A13A26C-D46D-41DD-A868-24D33C6717D5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A14FB2FA-ABA3-439B-B21C-077D2B081DC1}"/>
                </a:ext>
              </a:extLst>
            </p:cNvPr>
            <p:cNvGrpSpPr/>
            <p:nvPr/>
          </p:nvGrpSpPr>
          <p:grpSpPr>
            <a:xfrm>
              <a:off x="10852150" y="261205"/>
              <a:ext cx="1048897" cy="676650"/>
              <a:chOff x="882522" y="2285999"/>
              <a:chExt cx="3248297" cy="2095500"/>
            </a:xfrm>
          </p:grpSpPr>
          <p:grpSp>
            <p:nvGrpSpPr>
              <p:cNvPr id="20" name="Группа 19">
                <a:extLst>
                  <a:ext uri="{FF2B5EF4-FFF2-40B4-BE49-F238E27FC236}">
                    <a16:creationId xmlns:a16="http://schemas.microsoft.com/office/drawing/2014/main" id="{EEF1FFC7-4F62-4D67-9A5A-D39E4F24DFF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25" name="Прямоугольник 15">
                  <a:extLst>
                    <a:ext uri="{FF2B5EF4-FFF2-40B4-BE49-F238E27FC236}">
                      <a16:creationId xmlns:a16="http://schemas.microsoft.com/office/drawing/2014/main" id="{151D98EA-B9D8-404E-9105-E798D7AA3187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6" name="Прямоугольник 25">
                  <a:extLst>
                    <a:ext uri="{FF2B5EF4-FFF2-40B4-BE49-F238E27FC236}">
                      <a16:creationId xmlns:a16="http://schemas.microsoft.com/office/drawing/2014/main" id="{B1039992-5B50-4D1A-8EE8-C3B0F311AC4F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7" name="Прямоугольник 26">
                  <a:extLst>
                    <a:ext uri="{FF2B5EF4-FFF2-40B4-BE49-F238E27FC236}">
                      <a16:creationId xmlns:a16="http://schemas.microsoft.com/office/drawing/2014/main" id="{9DB07142-964B-4126-91C6-02840F20441C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8" name="Прямоугольник 15">
                  <a:extLst>
                    <a:ext uri="{FF2B5EF4-FFF2-40B4-BE49-F238E27FC236}">
                      <a16:creationId xmlns:a16="http://schemas.microsoft.com/office/drawing/2014/main" id="{ADA8FCF2-C3AC-41AD-A3C1-593599B656DE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9" name="Прямоугольник 28">
                  <a:extLst>
                    <a:ext uri="{FF2B5EF4-FFF2-40B4-BE49-F238E27FC236}">
                      <a16:creationId xmlns:a16="http://schemas.microsoft.com/office/drawing/2014/main" id="{FA499B05-B9AB-4417-9907-2807EAABE824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0" name="Прямоугольник 29">
                  <a:extLst>
                    <a:ext uri="{FF2B5EF4-FFF2-40B4-BE49-F238E27FC236}">
                      <a16:creationId xmlns:a16="http://schemas.microsoft.com/office/drawing/2014/main" id="{11D229B7-42F7-42B6-B848-DADDC14DD8B1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21" name="Группа 20">
                <a:extLst>
                  <a:ext uri="{FF2B5EF4-FFF2-40B4-BE49-F238E27FC236}">
                    <a16:creationId xmlns:a16="http://schemas.microsoft.com/office/drawing/2014/main" id="{BB2DF754-0F1A-44BF-8AD8-9F0538CFA64E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23" name="Прямоугольник 22">
                  <a:extLst>
                    <a:ext uri="{FF2B5EF4-FFF2-40B4-BE49-F238E27FC236}">
                      <a16:creationId xmlns:a16="http://schemas.microsoft.com/office/drawing/2014/main" id="{481208CC-EB67-46B7-96A1-9D04496AADFC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4" name="Прямоугольник 23">
                  <a:extLst>
                    <a:ext uri="{FF2B5EF4-FFF2-40B4-BE49-F238E27FC236}">
                      <a16:creationId xmlns:a16="http://schemas.microsoft.com/office/drawing/2014/main" id="{186849C2-E491-4B60-9297-C12508AE7051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22" name="Объект 21">
                <a:extLst>
                  <a:ext uri="{FF2B5EF4-FFF2-40B4-BE49-F238E27FC236}">
                    <a16:creationId xmlns:a16="http://schemas.microsoft.com/office/drawing/2014/main" id="{D9FD4D58-CE0B-44B4-A28E-2C4C1EFD592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40231063"/>
                  </p:ext>
                </p:extLst>
              </p:nvPr>
            </p:nvGraphicFramePr>
            <p:xfrm>
              <a:off x="2176351" y="2285999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110" name="Объект 109">
                            <a:extLst>
                              <a:ext uri="{FF2B5EF4-FFF2-40B4-BE49-F238E27FC236}">
                                <a16:creationId xmlns:a16="http://schemas.microsoft.com/office/drawing/2014/main" id="{0E83D51A-1E47-43BE-A822-A9D26873B0AF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51" y="2285999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09697A7-C81F-4565-AD69-CDCF0106C262}"/>
              </a:ext>
            </a:extLst>
          </p:cNvPr>
          <p:cNvSpPr txBox="1"/>
          <p:nvPr userDrawn="1"/>
        </p:nvSpPr>
        <p:spPr>
          <a:xfrm>
            <a:off x="114300" y="650897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</p:spTree>
    <p:extLst>
      <p:ext uri="{BB962C8B-B14F-4D97-AF65-F5344CB8AC3E}">
        <p14:creationId xmlns:p14="http://schemas.microsoft.com/office/powerpoint/2010/main" val="1640887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3130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09599" y="3136612"/>
            <a:ext cx="10972802" cy="58477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100000"/>
              </a:lnSpc>
              <a:defRPr lang="en-GB" sz="3200" b="0" dirty="0">
                <a:solidFill>
                  <a:srgbClr val="14345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372986"/>
            <a:r>
              <a:rPr lang="ru-RU" dirty="0"/>
              <a:t>Наименование проекта</a:t>
            </a:r>
            <a:endParaRPr lang="en-GB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538DCBED-2335-4678-8F83-B693E2206D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43401" y="6010331"/>
            <a:ext cx="3505200" cy="3069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6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j-ea"/>
                <a:cs typeface="Segoe UI Semilight" panose="020B0402040204020203" pitchFamily="34" charset="0"/>
              </a:defRPr>
            </a:lvl1pPr>
          </a:lstStyle>
          <a:p>
            <a:pPr marL="57159" lvl="0" indent="-28575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dirty="0"/>
              <a:t>Дат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594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1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809FEE8-7464-4FDB-9A57-88CDFAF57E02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лан работ для НИИ государства и права имени Гайрата Сапаргалиева  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2A9C9FF-5DCC-4625-AB79-D36CB3CC12BA}"/>
              </a:ext>
            </a:extLst>
          </p:cNvPr>
          <p:cNvSpPr txBox="1">
            <a:spLocks/>
          </p:cNvSpPr>
          <p:nvPr/>
        </p:nvSpPr>
        <p:spPr>
          <a:xfrm>
            <a:off x="95718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indent="0" algn="r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kairatkz</a:t>
            </a:r>
          </a:p>
        </p:txBody>
      </p:sp>
    </p:spTree>
    <p:extLst>
      <p:ext uri="{BB962C8B-B14F-4D97-AF65-F5344CB8AC3E}">
        <p14:creationId xmlns:p14="http://schemas.microsoft.com/office/powerpoint/2010/main" val="58394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735" y="258556"/>
            <a:ext cx="10844797" cy="71419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lang="en-US" sz="2400" b="1" dirty="0">
                <a:solidFill>
                  <a:srgbClr val="143452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</a:pPr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5875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809FEE8-7464-4FDB-9A57-88CDFAF57E02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10333"/>
            <a:ext cx="8350043" cy="19396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Результаты экспертизы проектов законов и иных нормативных правовых актов РК 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0" y="6531374"/>
            <a:ext cx="12197918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2A9C9FF-5DCC-4625-AB79-D36CB3CC12BA}"/>
              </a:ext>
            </a:extLst>
          </p:cNvPr>
          <p:cNvSpPr txBox="1">
            <a:spLocks/>
          </p:cNvSpPr>
          <p:nvPr/>
        </p:nvSpPr>
        <p:spPr>
          <a:xfrm>
            <a:off x="9533791" y="66103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indent="0" algn="r">
              <a:buFont typeface="Segoe UI" panose="020B0502040204020203" pitchFamily="34" charset="0"/>
              <a:buNone/>
            </a:pPr>
            <a:r>
              <a:rPr lang="en-US" sz="12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niis.kz</a:t>
            </a:r>
          </a:p>
        </p:txBody>
      </p:sp>
      <p:pic>
        <p:nvPicPr>
          <p:cNvPr id="9" name="Рисунок 8">
            <a:hlinkClick r:id="" action="ppaction://noaction"/>
            <a:extLst>
              <a:ext uri="{FF2B5EF4-FFF2-40B4-BE49-F238E27FC236}">
                <a16:creationId xmlns:a16="http://schemas.microsoft.com/office/drawing/2014/main" id="{C101E3CF-5E96-4B28-8920-B1D9697F8B1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57348" y="211127"/>
            <a:ext cx="788219" cy="5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784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8"/>
            <a:ext cx="11702530" cy="71103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1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Две</a:t>
            </a:r>
            <a:br>
              <a:rPr lang="ru-RU" dirty="0"/>
            </a:br>
            <a:r>
              <a:rPr lang="ru-RU" dirty="0"/>
              <a:t>строки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809FEE8-7464-4FDB-9A57-88CDFAF57E02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лан работ для НИИ государства и права имени Гайрата Сапаргалиева  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2A9C9FF-5DCC-4625-AB79-D36CB3CC12BA}"/>
              </a:ext>
            </a:extLst>
          </p:cNvPr>
          <p:cNvSpPr txBox="1">
            <a:spLocks/>
          </p:cNvSpPr>
          <p:nvPr/>
        </p:nvSpPr>
        <p:spPr>
          <a:xfrm>
            <a:off x="95718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indent="0" algn="r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kairatkz</a:t>
            </a:r>
          </a:p>
        </p:txBody>
      </p:sp>
    </p:spTree>
    <p:extLst>
      <p:ext uri="{BB962C8B-B14F-4D97-AF65-F5344CB8AC3E}">
        <p14:creationId xmlns:p14="http://schemas.microsoft.com/office/powerpoint/2010/main" val="2376440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8A06AB8-5A51-4ADA-946D-3C4C9710D567}"/>
              </a:ext>
            </a:extLst>
          </p:cNvPr>
          <p:cNvGrpSpPr/>
          <p:nvPr userDrawn="1"/>
        </p:nvGrpSpPr>
        <p:grpSpPr>
          <a:xfrm>
            <a:off x="11018414" y="282575"/>
            <a:ext cx="895332" cy="581025"/>
            <a:chOff x="10852150" y="257175"/>
            <a:chExt cx="1048896" cy="680680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B32429B1-572D-4A57-B67D-4C8E9E6E9157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148B5174-A2B1-43C2-A58D-BD73A65B2B9E}"/>
                </a:ext>
              </a:extLst>
            </p:cNvPr>
            <p:cNvGrpSpPr/>
            <p:nvPr/>
          </p:nvGrpSpPr>
          <p:grpSpPr>
            <a:xfrm>
              <a:off x="10852150" y="261205"/>
              <a:ext cx="1048896" cy="676650"/>
              <a:chOff x="882522" y="2286000"/>
              <a:chExt cx="3248293" cy="2095500"/>
            </a:xfrm>
          </p:grpSpPr>
          <p:grpSp>
            <p:nvGrpSpPr>
              <p:cNvPr id="6" name="Группа 5">
                <a:extLst>
                  <a:ext uri="{FF2B5EF4-FFF2-40B4-BE49-F238E27FC236}">
                    <a16:creationId xmlns:a16="http://schemas.microsoft.com/office/drawing/2014/main" id="{E3F8F958-B237-474F-9041-7712F6FD320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11" name="Прямоугольник 15">
                  <a:extLst>
                    <a:ext uri="{FF2B5EF4-FFF2-40B4-BE49-F238E27FC236}">
                      <a16:creationId xmlns:a16="http://schemas.microsoft.com/office/drawing/2014/main" id="{1A232B89-E920-4F5F-B36A-95168058255E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" name="Прямоугольник 11">
                  <a:extLst>
                    <a:ext uri="{FF2B5EF4-FFF2-40B4-BE49-F238E27FC236}">
                      <a16:creationId xmlns:a16="http://schemas.microsoft.com/office/drawing/2014/main" id="{1E3A1444-D1E2-47A7-8DF2-93A323BD24CB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3" name="Прямоугольник 12">
                  <a:extLst>
                    <a:ext uri="{FF2B5EF4-FFF2-40B4-BE49-F238E27FC236}">
                      <a16:creationId xmlns:a16="http://schemas.microsoft.com/office/drawing/2014/main" id="{14CFEC73-A490-4EF1-BDA0-7837CF2D4CEB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" name="Прямоугольник 15">
                  <a:extLst>
                    <a:ext uri="{FF2B5EF4-FFF2-40B4-BE49-F238E27FC236}">
                      <a16:creationId xmlns:a16="http://schemas.microsoft.com/office/drawing/2014/main" id="{07D67E20-F054-4B4D-BCDE-01B6FF34D9B9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5" name="Прямоугольник 14">
                  <a:extLst>
                    <a:ext uri="{FF2B5EF4-FFF2-40B4-BE49-F238E27FC236}">
                      <a16:creationId xmlns:a16="http://schemas.microsoft.com/office/drawing/2014/main" id="{C1B45D51-4936-4159-B53B-7B9B9A3B4EC2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" name="Прямоугольник 15">
                  <a:extLst>
                    <a:ext uri="{FF2B5EF4-FFF2-40B4-BE49-F238E27FC236}">
                      <a16:creationId xmlns:a16="http://schemas.microsoft.com/office/drawing/2014/main" id="{1E7548C1-DA63-4B30-9162-CBB2B37FAD9C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7" name="Группа 6">
                <a:extLst>
                  <a:ext uri="{FF2B5EF4-FFF2-40B4-BE49-F238E27FC236}">
                    <a16:creationId xmlns:a16="http://schemas.microsoft.com/office/drawing/2014/main" id="{B4D5CE5C-02CB-4252-9F21-352AAEF416CA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9" name="Прямоугольник 8">
                  <a:extLst>
                    <a:ext uri="{FF2B5EF4-FFF2-40B4-BE49-F238E27FC236}">
                      <a16:creationId xmlns:a16="http://schemas.microsoft.com/office/drawing/2014/main" id="{4D45E5EF-9C3F-4B6D-B63F-D2C3ED74539D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0" name="Прямоугольник 9">
                  <a:extLst>
                    <a:ext uri="{FF2B5EF4-FFF2-40B4-BE49-F238E27FC236}">
                      <a16:creationId xmlns:a16="http://schemas.microsoft.com/office/drawing/2014/main" id="{9E095158-C962-4534-8833-11C24E1EB437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8" name="Объект 7">
                <a:extLst>
                  <a:ext uri="{FF2B5EF4-FFF2-40B4-BE49-F238E27FC236}">
                    <a16:creationId xmlns:a16="http://schemas.microsoft.com/office/drawing/2014/main" id="{E7B3A723-B54F-4E75-8A56-69E6C414F83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430382294"/>
                  </p:ext>
                </p:extLst>
              </p:nvPr>
            </p:nvGraphicFramePr>
            <p:xfrm>
              <a:off x="2176347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8" name="Объект 7">
                            <a:extLst>
                              <a:ext uri="{FF2B5EF4-FFF2-40B4-BE49-F238E27FC236}">
                                <a16:creationId xmlns:a16="http://schemas.microsoft.com/office/drawing/2014/main" id="{E7B3A723-B54F-4E75-8A56-69E6C414F830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47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E53E1C62-4968-4470-BEFE-C7CDBAA1F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834" y="314489"/>
            <a:ext cx="10505187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en-US" sz="3600" dirty="0">
                <a:solidFill>
                  <a:srgbClr val="F79646"/>
                </a:solidFill>
                <a:ea typeface="+mn-ea"/>
                <a:cs typeface="+mn-cs"/>
              </a:defRPr>
            </a:lvl1pPr>
          </a:lstStyle>
          <a:p>
            <a:pPr marL="0" lvl="0" defTabSz="372986">
              <a:spcAft>
                <a:spcPts val="1200"/>
              </a:spcAft>
            </a:pPr>
            <a:r>
              <a:rPr lang="ru-RU" dirty="0"/>
              <a:t>Заголовок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29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8A06AB8-5A51-4ADA-946D-3C4C9710D567}"/>
              </a:ext>
            </a:extLst>
          </p:cNvPr>
          <p:cNvGrpSpPr/>
          <p:nvPr userDrawn="1"/>
        </p:nvGrpSpPr>
        <p:grpSpPr>
          <a:xfrm>
            <a:off x="11018414" y="282575"/>
            <a:ext cx="895332" cy="581025"/>
            <a:chOff x="10852150" y="257175"/>
            <a:chExt cx="1048896" cy="680680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B32429B1-572D-4A57-B67D-4C8E9E6E9157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148B5174-A2B1-43C2-A58D-BD73A65B2B9E}"/>
                </a:ext>
              </a:extLst>
            </p:cNvPr>
            <p:cNvGrpSpPr/>
            <p:nvPr/>
          </p:nvGrpSpPr>
          <p:grpSpPr>
            <a:xfrm>
              <a:off x="10852150" y="261205"/>
              <a:ext cx="1048896" cy="676650"/>
              <a:chOff x="882522" y="2286000"/>
              <a:chExt cx="3248293" cy="2095500"/>
            </a:xfrm>
          </p:grpSpPr>
          <p:grpSp>
            <p:nvGrpSpPr>
              <p:cNvPr id="6" name="Группа 5">
                <a:extLst>
                  <a:ext uri="{FF2B5EF4-FFF2-40B4-BE49-F238E27FC236}">
                    <a16:creationId xmlns:a16="http://schemas.microsoft.com/office/drawing/2014/main" id="{E3F8F958-B237-474F-9041-7712F6FD320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11" name="Прямоугольник 15">
                  <a:extLst>
                    <a:ext uri="{FF2B5EF4-FFF2-40B4-BE49-F238E27FC236}">
                      <a16:creationId xmlns:a16="http://schemas.microsoft.com/office/drawing/2014/main" id="{1A232B89-E920-4F5F-B36A-95168058255E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" name="Прямоугольник 11">
                  <a:extLst>
                    <a:ext uri="{FF2B5EF4-FFF2-40B4-BE49-F238E27FC236}">
                      <a16:creationId xmlns:a16="http://schemas.microsoft.com/office/drawing/2014/main" id="{1E3A1444-D1E2-47A7-8DF2-93A323BD24CB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3" name="Прямоугольник 12">
                  <a:extLst>
                    <a:ext uri="{FF2B5EF4-FFF2-40B4-BE49-F238E27FC236}">
                      <a16:creationId xmlns:a16="http://schemas.microsoft.com/office/drawing/2014/main" id="{14CFEC73-A490-4EF1-BDA0-7837CF2D4CEB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" name="Прямоугольник 15">
                  <a:extLst>
                    <a:ext uri="{FF2B5EF4-FFF2-40B4-BE49-F238E27FC236}">
                      <a16:creationId xmlns:a16="http://schemas.microsoft.com/office/drawing/2014/main" id="{07D67E20-F054-4B4D-BCDE-01B6FF34D9B9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5" name="Прямоугольник 14">
                  <a:extLst>
                    <a:ext uri="{FF2B5EF4-FFF2-40B4-BE49-F238E27FC236}">
                      <a16:creationId xmlns:a16="http://schemas.microsoft.com/office/drawing/2014/main" id="{C1B45D51-4936-4159-B53B-7B9B9A3B4EC2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" name="Прямоугольник 15">
                  <a:extLst>
                    <a:ext uri="{FF2B5EF4-FFF2-40B4-BE49-F238E27FC236}">
                      <a16:creationId xmlns:a16="http://schemas.microsoft.com/office/drawing/2014/main" id="{1E7548C1-DA63-4B30-9162-CBB2B37FAD9C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7" name="Группа 6">
                <a:extLst>
                  <a:ext uri="{FF2B5EF4-FFF2-40B4-BE49-F238E27FC236}">
                    <a16:creationId xmlns:a16="http://schemas.microsoft.com/office/drawing/2014/main" id="{B4D5CE5C-02CB-4252-9F21-352AAEF416CA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9" name="Прямоугольник 8">
                  <a:extLst>
                    <a:ext uri="{FF2B5EF4-FFF2-40B4-BE49-F238E27FC236}">
                      <a16:creationId xmlns:a16="http://schemas.microsoft.com/office/drawing/2014/main" id="{4D45E5EF-9C3F-4B6D-B63F-D2C3ED74539D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0" name="Прямоугольник 9">
                  <a:extLst>
                    <a:ext uri="{FF2B5EF4-FFF2-40B4-BE49-F238E27FC236}">
                      <a16:creationId xmlns:a16="http://schemas.microsoft.com/office/drawing/2014/main" id="{9E095158-C962-4534-8833-11C24E1EB437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8" name="Объект 7">
                <a:extLst>
                  <a:ext uri="{FF2B5EF4-FFF2-40B4-BE49-F238E27FC236}">
                    <a16:creationId xmlns:a16="http://schemas.microsoft.com/office/drawing/2014/main" id="{E7B3A723-B54F-4E75-8A56-69E6C414F83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155944209"/>
                  </p:ext>
                </p:extLst>
              </p:nvPr>
            </p:nvGraphicFramePr>
            <p:xfrm>
              <a:off x="2176347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8" name="Объект 7">
                            <a:extLst>
                              <a:ext uri="{FF2B5EF4-FFF2-40B4-BE49-F238E27FC236}">
                                <a16:creationId xmlns:a16="http://schemas.microsoft.com/office/drawing/2014/main" id="{E7B3A723-B54F-4E75-8A56-69E6C414F830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47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E53E1C62-4968-4470-BEFE-C7CDBAA1F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834" y="314489"/>
            <a:ext cx="10505187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en-US" sz="3600" dirty="0">
                <a:solidFill>
                  <a:srgbClr val="F79646"/>
                </a:solidFill>
                <a:ea typeface="+mn-ea"/>
                <a:cs typeface="+mn-cs"/>
              </a:defRPr>
            </a:lvl1pPr>
          </a:lstStyle>
          <a:p>
            <a:pPr marL="0" lvl="0" defTabSz="372986">
              <a:spcAft>
                <a:spcPts val="1200"/>
              </a:spcAft>
            </a:pPr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ABEBA7-30D2-4EE8-8754-CE0E9A7579AC}"/>
              </a:ext>
            </a:extLst>
          </p:cNvPr>
          <p:cNvSpPr txBox="1"/>
          <p:nvPr userDrawn="1"/>
        </p:nvSpPr>
        <p:spPr>
          <a:xfrm>
            <a:off x="148347" y="6475415"/>
            <a:ext cx="46765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9CB8A7-6EA0-4338-A474-E6A5813965D2}"/>
              </a:ext>
            </a:extLst>
          </p:cNvPr>
          <p:cNvSpPr txBox="1"/>
          <p:nvPr userDrawn="1"/>
        </p:nvSpPr>
        <p:spPr>
          <a:xfrm>
            <a:off x="11313267" y="6475415"/>
            <a:ext cx="6614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chemeClr val="accent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rPr>
              <a:t>niis.kz</a:t>
            </a:r>
            <a:endParaRPr lang="ru-RU" sz="1200" dirty="0">
              <a:solidFill>
                <a:schemeClr val="accent2">
                  <a:lumMod val="60000"/>
                  <a:lumOff val="40000"/>
                </a:schemeClr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102678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8A06AB8-5A51-4ADA-946D-3C4C9710D567}"/>
              </a:ext>
            </a:extLst>
          </p:cNvPr>
          <p:cNvGrpSpPr/>
          <p:nvPr userDrawn="1"/>
        </p:nvGrpSpPr>
        <p:grpSpPr>
          <a:xfrm>
            <a:off x="11018414" y="282575"/>
            <a:ext cx="895332" cy="581025"/>
            <a:chOff x="10852150" y="257175"/>
            <a:chExt cx="1048896" cy="680680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B32429B1-572D-4A57-B67D-4C8E9E6E9157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148B5174-A2B1-43C2-A58D-BD73A65B2B9E}"/>
                </a:ext>
              </a:extLst>
            </p:cNvPr>
            <p:cNvGrpSpPr/>
            <p:nvPr/>
          </p:nvGrpSpPr>
          <p:grpSpPr>
            <a:xfrm>
              <a:off x="10852150" y="261205"/>
              <a:ext cx="1048896" cy="676650"/>
              <a:chOff x="882522" y="2286000"/>
              <a:chExt cx="3248293" cy="2095500"/>
            </a:xfrm>
          </p:grpSpPr>
          <p:grpSp>
            <p:nvGrpSpPr>
              <p:cNvPr id="6" name="Группа 5">
                <a:extLst>
                  <a:ext uri="{FF2B5EF4-FFF2-40B4-BE49-F238E27FC236}">
                    <a16:creationId xmlns:a16="http://schemas.microsoft.com/office/drawing/2014/main" id="{E3F8F958-B237-474F-9041-7712F6FD320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11" name="Прямоугольник 15">
                  <a:extLst>
                    <a:ext uri="{FF2B5EF4-FFF2-40B4-BE49-F238E27FC236}">
                      <a16:creationId xmlns:a16="http://schemas.microsoft.com/office/drawing/2014/main" id="{1A232B89-E920-4F5F-B36A-95168058255E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" name="Прямоугольник 11">
                  <a:extLst>
                    <a:ext uri="{FF2B5EF4-FFF2-40B4-BE49-F238E27FC236}">
                      <a16:creationId xmlns:a16="http://schemas.microsoft.com/office/drawing/2014/main" id="{1E3A1444-D1E2-47A7-8DF2-93A323BD24CB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3" name="Прямоугольник 12">
                  <a:extLst>
                    <a:ext uri="{FF2B5EF4-FFF2-40B4-BE49-F238E27FC236}">
                      <a16:creationId xmlns:a16="http://schemas.microsoft.com/office/drawing/2014/main" id="{14CFEC73-A490-4EF1-BDA0-7837CF2D4CEB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" name="Прямоугольник 15">
                  <a:extLst>
                    <a:ext uri="{FF2B5EF4-FFF2-40B4-BE49-F238E27FC236}">
                      <a16:creationId xmlns:a16="http://schemas.microsoft.com/office/drawing/2014/main" id="{07D67E20-F054-4B4D-BCDE-01B6FF34D9B9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5" name="Прямоугольник 14">
                  <a:extLst>
                    <a:ext uri="{FF2B5EF4-FFF2-40B4-BE49-F238E27FC236}">
                      <a16:creationId xmlns:a16="http://schemas.microsoft.com/office/drawing/2014/main" id="{C1B45D51-4936-4159-B53B-7B9B9A3B4EC2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" name="Прямоугольник 15">
                  <a:extLst>
                    <a:ext uri="{FF2B5EF4-FFF2-40B4-BE49-F238E27FC236}">
                      <a16:creationId xmlns:a16="http://schemas.microsoft.com/office/drawing/2014/main" id="{1E7548C1-DA63-4B30-9162-CBB2B37FAD9C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7" name="Группа 6">
                <a:extLst>
                  <a:ext uri="{FF2B5EF4-FFF2-40B4-BE49-F238E27FC236}">
                    <a16:creationId xmlns:a16="http://schemas.microsoft.com/office/drawing/2014/main" id="{B4D5CE5C-02CB-4252-9F21-352AAEF416CA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9" name="Прямоугольник 8">
                  <a:extLst>
                    <a:ext uri="{FF2B5EF4-FFF2-40B4-BE49-F238E27FC236}">
                      <a16:creationId xmlns:a16="http://schemas.microsoft.com/office/drawing/2014/main" id="{4D45E5EF-9C3F-4B6D-B63F-D2C3ED74539D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0" name="Прямоугольник 9">
                  <a:extLst>
                    <a:ext uri="{FF2B5EF4-FFF2-40B4-BE49-F238E27FC236}">
                      <a16:creationId xmlns:a16="http://schemas.microsoft.com/office/drawing/2014/main" id="{9E095158-C962-4534-8833-11C24E1EB437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8" name="Объект 7">
                <a:extLst>
                  <a:ext uri="{FF2B5EF4-FFF2-40B4-BE49-F238E27FC236}">
                    <a16:creationId xmlns:a16="http://schemas.microsoft.com/office/drawing/2014/main" id="{E7B3A723-B54F-4E75-8A56-69E6C414F83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74451595"/>
                  </p:ext>
                </p:extLst>
              </p:nvPr>
            </p:nvGraphicFramePr>
            <p:xfrm>
              <a:off x="2176347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105" name="Объект 104">
                            <a:extLst>
                              <a:ext uri="{FF2B5EF4-FFF2-40B4-BE49-F238E27FC236}">
                                <a16:creationId xmlns:a16="http://schemas.microsoft.com/office/drawing/2014/main" id="{A78BA43C-2254-499E-93C6-F73B913127C6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47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6625A85-18DC-43F7-926C-C9782D366D8C}"/>
              </a:ext>
            </a:extLst>
          </p:cNvPr>
          <p:cNvSpPr txBox="1"/>
          <p:nvPr userDrawn="1"/>
        </p:nvSpPr>
        <p:spPr>
          <a:xfrm>
            <a:off x="5956300" y="649627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200" dirty="0">
                <a:solidFill>
                  <a:srgbClr val="7293BA"/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</p:spTree>
    <p:extLst>
      <p:ext uri="{BB962C8B-B14F-4D97-AF65-F5344CB8AC3E}">
        <p14:creationId xmlns:p14="http://schemas.microsoft.com/office/powerpoint/2010/main" val="4244045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290F83-4CA1-4C01-918C-989E97346B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02CFB499-6E18-4EE9-81B8-7895C7F60744}"/>
              </a:ext>
            </a:extLst>
          </p:cNvPr>
          <p:cNvGrpSpPr/>
          <p:nvPr userDrawn="1"/>
        </p:nvGrpSpPr>
        <p:grpSpPr>
          <a:xfrm>
            <a:off x="11188700" y="6214815"/>
            <a:ext cx="775848" cy="503485"/>
            <a:chOff x="10852150" y="257175"/>
            <a:chExt cx="1048898" cy="680680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8A13A26C-D46D-41DD-A868-24D33C6717D5}"/>
                </a:ext>
              </a:extLst>
            </p:cNvPr>
            <p:cNvSpPr/>
            <p:nvPr/>
          </p:nvSpPr>
          <p:spPr>
            <a:xfrm>
              <a:off x="11304588" y="257175"/>
              <a:ext cx="559594" cy="559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A14FB2FA-ABA3-439B-B21C-077D2B081DC1}"/>
                </a:ext>
              </a:extLst>
            </p:cNvPr>
            <p:cNvGrpSpPr/>
            <p:nvPr/>
          </p:nvGrpSpPr>
          <p:grpSpPr>
            <a:xfrm>
              <a:off x="10852150" y="261205"/>
              <a:ext cx="1048898" cy="676650"/>
              <a:chOff x="882522" y="2286000"/>
              <a:chExt cx="3248300" cy="2095500"/>
            </a:xfrm>
          </p:grpSpPr>
          <p:grpSp>
            <p:nvGrpSpPr>
              <p:cNvPr id="20" name="Группа 19">
                <a:extLst>
                  <a:ext uri="{FF2B5EF4-FFF2-40B4-BE49-F238E27FC236}">
                    <a16:creationId xmlns:a16="http://schemas.microsoft.com/office/drawing/2014/main" id="{EEF1FFC7-4F62-4D67-9A5A-D39E4F24DFF2}"/>
                  </a:ext>
                </a:extLst>
              </p:cNvPr>
              <p:cNvGrpSpPr/>
              <p:nvPr/>
            </p:nvGrpSpPr>
            <p:grpSpPr>
              <a:xfrm>
                <a:off x="882522" y="2295845"/>
                <a:ext cx="1943228" cy="1698879"/>
                <a:chOff x="3695572" y="2715958"/>
                <a:chExt cx="1943228" cy="1698879"/>
              </a:xfrm>
            </p:grpSpPr>
            <p:sp>
              <p:nvSpPr>
                <p:cNvPr id="25" name="Прямоугольник 15">
                  <a:extLst>
                    <a:ext uri="{FF2B5EF4-FFF2-40B4-BE49-F238E27FC236}">
                      <a16:creationId xmlns:a16="http://schemas.microsoft.com/office/drawing/2014/main" id="{151D98EA-B9D8-404E-9105-E798D7AA3187}"/>
                    </a:ext>
                  </a:extLst>
                </p:cNvPr>
                <p:cNvSpPr/>
                <p:nvPr/>
              </p:nvSpPr>
              <p:spPr>
                <a:xfrm flipV="1">
                  <a:off x="4213860" y="2715958"/>
                  <a:ext cx="1424940" cy="566752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6" name="Прямоугольник 25">
                  <a:extLst>
                    <a:ext uri="{FF2B5EF4-FFF2-40B4-BE49-F238E27FC236}">
                      <a16:creationId xmlns:a16="http://schemas.microsoft.com/office/drawing/2014/main" id="{B1039992-5B50-4D1A-8EE8-C3B0F311AC4F}"/>
                    </a:ext>
                  </a:extLst>
                </p:cNvPr>
                <p:cNvSpPr/>
                <p:nvPr/>
              </p:nvSpPr>
              <p:spPr>
                <a:xfrm>
                  <a:off x="4044315" y="2715958"/>
                  <a:ext cx="756285" cy="566753"/>
                </a:xfrm>
                <a:prstGeom prst="rect">
                  <a:avLst/>
                </a:prstGeom>
                <a:solidFill>
                  <a:srgbClr val="CFCF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7" name="Прямоугольник 26">
                  <a:extLst>
                    <a:ext uri="{FF2B5EF4-FFF2-40B4-BE49-F238E27FC236}">
                      <a16:creationId xmlns:a16="http://schemas.microsoft.com/office/drawing/2014/main" id="{9DB07142-964B-4126-91C6-02840F20441C}"/>
                    </a:ext>
                  </a:extLst>
                </p:cNvPr>
                <p:cNvSpPr/>
                <p:nvPr/>
              </p:nvSpPr>
              <p:spPr>
                <a:xfrm>
                  <a:off x="4451857" y="3282021"/>
                  <a:ext cx="644018" cy="566753"/>
                </a:xfrm>
                <a:prstGeom prst="rect">
                  <a:avLst/>
                </a:prstGeom>
                <a:solidFill>
                  <a:srgbClr val="EAEAE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8" name="Прямоугольник 15">
                  <a:extLst>
                    <a:ext uri="{FF2B5EF4-FFF2-40B4-BE49-F238E27FC236}">
                      <a16:creationId xmlns:a16="http://schemas.microsoft.com/office/drawing/2014/main" id="{ADA8FCF2-C3AC-41AD-A3C1-593599B656DE}"/>
                    </a:ext>
                  </a:extLst>
                </p:cNvPr>
                <p:cNvSpPr/>
                <p:nvPr/>
              </p:nvSpPr>
              <p:spPr>
                <a:xfrm>
                  <a:off x="4213860" y="3848084"/>
                  <a:ext cx="1424940" cy="566753"/>
                </a:xfrm>
                <a:custGeom>
                  <a:avLst/>
                  <a:gdLst>
                    <a:gd name="connsiteX0" fmla="*/ 0 w 1424940"/>
                    <a:gd name="connsiteY0" fmla="*/ 0 h 566753"/>
                    <a:gd name="connsiteX1" fmla="*/ 1424940 w 1424940"/>
                    <a:gd name="connsiteY1" fmla="*/ 0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0 h 566753"/>
                    <a:gd name="connsiteX3" fmla="*/ 1424940 w 1424940"/>
                    <a:gd name="connsiteY3" fmla="*/ 566753 h 566753"/>
                    <a:gd name="connsiteX4" fmla="*/ 0 w 1424940"/>
                    <a:gd name="connsiteY4" fmla="*/ 566753 h 566753"/>
                    <a:gd name="connsiteX5" fmla="*/ 0 w 1424940"/>
                    <a:gd name="connsiteY5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56701"/>
                    <a:gd name="connsiteY0" fmla="*/ 0 h 566753"/>
                    <a:gd name="connsiteX1" fmla="*/ 910590 w 1456701"/>
                    <a:gd name="connsiteY1" fmla="*/ 16 h 566753"/>
                    <a:gd name="connsiteX2" fmla="*/ 1424940 w 1456701"/>
                    <a:gd name="connsiteY2" fmla="*/ 566753 h 566753"/>
                    <a:gd name="connsiteX3" fmla="*/ 0 w 1456701"/>
                    <a:gd name="connsiteY3" fmla="*/ 566753 h 566753"/>
                    <a:gd name="connsiteX4" fmla="*/ 0 w 1456701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  <a:gd name="connsiteX0" fmla="*/ 0 w 1424940"/>
                    <a:gd name="connsiteY0" fmla="*/ 0 h 566753"/>
                    <a:gd name="connsiteX1" fmla="*/ 910590 w 1424940"/>
                    <a:gd name="connsiteY1" fmla="*/ 16 h 566753"/>
                    <a:gd name="connsiteX2" fmla="*/ 1424940 w 1424940"/>
                    <a:gd name="connsiteY2" fmla="*/ 566753 h 566753"/>
                    <a:gd name="connsiteX3" fmla="*/ 0 w 1424940"/>
                    <a:gd name="connsiteY3" fmla="*/ 566753 h 566753"/>
                    <a:gd name="connsiteX4" fmla="*/ 0 w 1424940"/>
                    <a:gd name="connsiteY4" fmla="*/ 0 h 56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4940" h="566753">
                      <a:moveTo>
                        <a:pt x="0" y="0"/>
                      </a:moveTo>
                      <a:lnTo>
                        <a:pt x="910590" y="16"/>
                      </a:lnTo>
                      <a:cubicBezTo>
                        <a:pt x="986155" y="327838"/>
                        <a:pt x="1157605" y="410384"/>
                        <a:pt x="1424940" y="566753"/>
                      </a:cubicBezTo>
                      <a:lnTo>
                        <a:pt x="0" y="5667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9" name="Прямоугольник 28">
                  <a:extLst>
                    <a:ext uri="{FF2B5EF4-FFF2-40B4-BE49-F238E27FC236}">
                      <a16:creationId xmlns:a16="http://schemas.microsoft.com/office/drawing/2014/main" id="{FA499B05-B9AB-4417-9907-2807EAABE824}"/>
                    </a:ext>
                  </a:extLst>
                </p:cNvPr>
                <p:cNvSpPr/>
                <p:nvPr/>
              </p:nvSpPr>
              <p:spPr>
                <a:xfrm>
                  <a:off x="3695572" y="3282021"/>
                  <a:ext cx="756285" cy="566753"/>
                </a:xfrm>
                <a:prstGeom prst="rect">
                  <a:avLst/>
                </a:prstGeom>
                <a:solidFill>
                  <a:srgbClr val="A1A1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0" name="Прямоугольник 29">
                  <a:extLst>
                    <a:ext uri="{FF2B5EF4-FFF2-40B4-BE49-F238E27FC236}">
                      <a16:creationId xmlns:a16="http://schemas.microsoft.com/office/drawing/2014/main" id="{11D229B7-42F7-42B6-B848-DADDC14DD8B1}"/>
                    </a:ext>
                  </a:extLst>
                </p:cNvPr>
                <p:cNvSpPr/>
                <p:nvPr/>
              </p:nvSpPr>
              <p:spPr>
                <a:xfrm>
                  <a:off x="4044315" y="3848084"/>
                  <a:ext cx="756285" cy="566753"/>
                </a:xfrm>
                <a:prstGeom prst="rect">
                  <a:avLst/>
                </a:prstGeom>
                <a:solidFill>
                  <a:srgbClr val="E2E2E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grpSp>
            <p:nvGrpSpPr>
              <p:cNvPr id="21" name="Группа 20">
                <a:extLst>
                  <a:ext uri="{FF2B5EF4-FFF2-40B4-BE49-F238E27FC236}">
                    <a16:creationId xmlns:a16="http://schemas.microsoft.com/office/drawing/2014/main" id="{BB2DF754-0F1A-44BF-8AD8-9F0538CFA64E}"/>
                  </a:ext>
                </a:extLst>
              </p:cNvPr>
              <p:cNvGrpSpPr/>
              <p:nvPr/>
            </p:nvGrpSpPr>
            <p:grpSpPr>
              <a:xfrm>
                <a:off x="2613025" y="2916807"/>
                <a:ext cx="1006477" cy="460131"/>
                <a:chOff x="2794000" y="2906065"/>
                <a:chExt cx="1039814" cy="475373"/>
              </a:xfrm>
              <a:solidFill>
                <a:srgbClr val="F17E00"/>
              </a:solidFill>
            </p:grpSpPr>
            <p:sp>
              <p:nvSpPr>
                <p:cNvPr id="23" name="Прямоугольник 22">
                  <a:extLst>
                    <a:ext uri="{FF2B5EF4-FFF2-40B4-BE49-F238E27FC236}">
                      <a16:creationId xmlns:a16="http://schemas.microsoft.com/office/drawing/2014/main" id="{481208CC-EB67-46B7-96A1-9D04496AADFC}"/>
                    </a:ext>
                  </a:extLst>
                </p:cNvPr>
                <p:cNvSpPr/>
                <p:nvPr/>
              </p:nvSpPr>
              <p:spPr>
                <a:xfrm>
                  <a:off x="2794000" y="2906065"/>
                  <a:ext cx="704850" cy="16073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4" name="Прямоугольник 23">
                  <a:extLst>
                    <a:ext uri="{FF2B5EF4-FFF2-40B4-BE49-F238E27FC236}">
                      <a16:creationId xmlns:a16="http://schemas.microsoft.com/office/drawing/2014/main" id="{186849C2-E491-4B60-9297-C12508AE7051}"/>
                    </a:ext>
                  </a:extLst>
                </p:cNvPr>
                <p:cNvSpPr/>
                <p:nvPr/>
              </p:nvSpPr>
              <p:spPr>
                <a:xfrm>
                  <a:off x="2794001" y="3220702"/>
                  <a:ext cx="1039813" cy="16073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aphicFrame>
            <p:nvGraphicFramePr>
              <p:cNvPr id="22" name="Объект 21">
                <a:extLst>
                  <a:ext uri="{FF2B5EF4-FFF2-40B4-BE49-F238E27FC236}">
                    <a16:creationId xmlns:a16="http://schemas.microsoft.com/office/drawing/2014/main" id="{D9FD4D58-CE0B-44B4-A28E-2C4C1EFD592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37419473"/>
                  </p:ext>
                </p:extLst>
              </p:nvPr>
            </p:nvGraphicFramePr>
            <p:xfrm>
              <a:off x="2176354" y="2286000"/>
              <a:ext cx="1954468" cy="20955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orelDRAW" r:id="rId2" imgW="2485800" imgH="2665268" progId="CorelDraw.Graphic.21">
                      <p:embed/>
                    </p:oleObj>
                  </mc:Choice>
                  <mc:Fallback>
                    <p:oleObj name="CorelDRAW" r:id="rId2" imgW="2485800" imgH="2665268" progId="CorelDraw.Graphic.21">
                      <p:embed/>
                      <p:pic>
                        <p:nvPicPr>
                          <p:cNvPr id="22" name="Объект 21">
                            <a:extLst>
                              <a:ext uri="{FF2B5EF4-FFF2-40B4-BE49-F238E27FC236}">
                                <a16:creationId xmlns:a16="http://schemas.microsoft.com/office/drawing/2014/main" id="{D9FD4D58-CE0B-44B4-A28E-2C4C1EFD592F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3"/>
                          <a:stretch>
                            <a:fillRect/>
                          </a:stretch>
                        </p:blipFill>
                        <p:spPr>
                          <a:xfrm>
                            <a:off x="2176354" y="2286000"/>
                            <a:ext cx="1954468" cy="20955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09697A7-C81F-4565-AD69-CDCF0106C262}"/>
              </a:ext>
            </a:extLst>
          </p:cNvPr>
          <p:cNvSpPr txBox="1"/>
          <p:nvPr userDrawn="1"/>
        </p:nvSpPr>
        <p:spPr>
          <a:xfrm>
            <a:off x="5016500" y="629307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200" dirty="0">
                <a:solidFill>
                  <a:schemeClr val="accent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  <p:sp>
        <p:nvSpPr>
          <p:cNvPr id="32" name="Title Placeholder 1">
            <a:extLst>
              <a:ext uri="{FF2B5EF4-FFF2-40B4-BE49-F238E27FC236}">
                <a16:creationId xmlns:a16="http://schemas.microsoft.com/office/drawing/2014/main" id="{BA19159F-37D1-4C35-AE0F-AEB15A819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10895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lang="en-US" sz="3600" dirty="0">
                <a:solidFill>
                  <a:srgbClr val="F79646"/>
                </a:solidFill>
                <a:ea typeface="+mn-ea"/>
                <a:cs typeface="+mn-cs"/>
              </a:defRPr>
            </a:lvl1pPr>
          </a:lstStyle>
          <a:p>
            <a:pPr marL="0" lvl="0" defTabSz="372986">
              <a:spcAft>
                <a:spcPts val="1200"/>
              </a:spcAft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377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52838049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624" imgH="623" progId="TCLayout.ActiveDocument.1">
                  <p:embed/>
                </p:oleObj>
              </mc:Choice>
              <mc:Fallback>
                <p:oleObj name="think-cell Slide" r:id="rId17" imgW="624" imgH="62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50111800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624" imgH="623" progId="TCLayout.ActiveDocument.1">
                  <p:embed/>
                </p:oleObj>
              </mc:Choice>
              <mc:Fallback>
                <p:oleObj name="think-cell Slide" r:id="rId19" imgW="624" imgH="62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FE7A0FE-2092-4AC2-8A80-E97555D9BDAE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17250343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624" imgH="623" progId="TCLayout.ActiveDocument.1">
                  <p:embed/>
                </p:oleObj>
              </mc:Choice>
              <mc:Fallback>
                <p:oleObj name="think-cell Slide" r:id="rId20" imgW="624" imgH="62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FE7A0FE-2092-4AC2-8A80-E97555D9BD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6" hidden="1">
            <a:extLst>
              <a:ext uri="{FF2B5EF4-FFF2-40B4-BE49-F238E27FC236}">
                <a16:creationId xmlns:a16="http://schemas.microsoft.com/office/drawing/2014/main" id="{D6363BED-BD76-4DB9-9666-355119729489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2706905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24" imgH="623" progId="TCLayout.ActiveDocument.1">
                  <p:embed/>
                </p:oleObj>
              </mc:Choice>
              <mc:Fallback>
                <p:oleObj name="think-cell Slide" r:id="rId21" imgW="624" imgH="623" progId="TCLayout.ActiveDocument.1">
                  <p:embed/>
                  <p:pic>
                    <p:nvPicPr>
                      <p:cNvPr id="5" name="Объект 6" hidden="1">
                        <a:extLst>
                          <a:ext uri="{FF2B5EF4-FFF2-40B4-BE49-F238E27FC236}">
                            <a16:creationId xmlns:a16="http://schemas.microsoft.com/office/drawing/2014/main" id="{D6363BED-BD76-4DB9-9666-355119729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86753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61" r:id="rId2"/>
    <p:sldLayoutId id="2147483663" r:id="rId3"/>
    <p:sldLayoutId id="2147483681" r:id="rId4"/>
    <p:sldLayoutId id="2147483675" r:id="rId5"/>
    <p:sldLayoutId id="2147483678" r:id="rId6"/>
    <p:sldLayoutId id="2147483684" r:id="rId7"/>
    <p:sldLayoutId id="2147483676" r:id="rId8"/>
    <p:sldLayoutId id="2147483679" r:id="rId9"/>
    <p:sldLayoutId id="2147483677" r:id="rId10"/>
    <p:sldLayoutId id="214748368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3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4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5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7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7.svg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1.xml"/><Relationship Id="rId11" Type="http://schemas.openxmlformats.org/officeDocument/2006/relationships/image" Target="../media/image14.png"/><Relationship Id="rId5" Type="http://schemas.openxmlformats.org/officeDocument/2006/relationships/image" Target="../media/image9.svg"/><Relationship Id="rId10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7.svg"/><Relationship Id="rId18" Type="http://schemas.openxmlformats.org/officeDocument/2006/relationships/image" Target="../media/image32.png"/><Relationship Id="rId26" Type="http://schemas.openxmlformats.org/officeDocument/2006/relationships/image" Target="../media/image40.png"/><Relationship Id="rId3" Type="http://schemas.openxmlformats.org/officeDocument/2006/relationships/image" Target="../media/image17.svg"/><Relationship Id="rId21" Type="http://schemas.openxmlformats.org/officeDocument/2006/relationships/image" Target="../media/image35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17" Type="http://schemas.openxmlformats.org/officeDocument/2006/relationships/image" Target="../media/image31.svg"/><Relationship Id="rId25" Type="http://schemas.openxmlformats.org/officeDocument/2006/relationships/image" Target="../media/image39.svg"/><Relationship Id="rId33" Type="http://schemas.openxmlformats.org/officeDocument/2006/relationships/image" Target="../media/image47.sv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29" Type="http://schemas.openxmlformats.org/officeDocument/2006/relationships/image" Target="../media/image43.sv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24" Type="http://schemas.openxmlformats.org/officeDocument/2006/relationships/image" Target="../media/image38.png"/><Relationship Id="rId32" Type="http://schemas.openxmlformats.org/officeDocument/2006/relationships/image" Target="../media/image46.png"/><Relationship Id="rId5" Type="http://schemas.openxmlformats.org/officeDocument/2006/relationships/image" Target="../media/image19.svg"/><Relationship Id="rId15" Type="http://schemas.openxmlformats.org/officeDocument/2006/relationships/image" Target="../media/image29.svg"/><Relationship Id="rId23" Type="http://schemas.openxmlformats.org/officeDocument/2006/relationships/image" Target="../media/image37.svg"/><Relationship Id="rId28" Type="http://schemas.openxmlformats.org/officeDocument/2006/relationships/image" Target="../media/image42.png"/><Relationship Id="rId10" Type="http://schemas.openxmlformats.org/officeDocument/2006/relationships/image" Target="../media/image24.png"/><Relationship Id="rId19" Type="http://schemas.openxmlformats.org/officeDocument/2006/relationships/image" Target="../media/image33.svg"/><Relationship Id="rId31" Type="http://schemas.openxmlformats.org/officeDocument/2006/relationships/image" Target="../media/image45.svg"/><Relationship Id="rId4" Type="http://schemas.openxmlformats.org/officeDocument/2006/relationships/image" Target="../media/image18.png"/><Relationship Id="rId9" Type="http://schemas.openxmlformats.org/officeDocument/2006/relationships/image" Target="../media/image23.svg"/><Relationship Id="rId14" Type="http://schemas.openxmlformats.org/officeDocument/2006/relationships/image" Target="../media/image28.png"/><Relationship Id="rId22" Type="http://schemas.openxmlformats.org/officeDocument/2006/relationships/image" Target="../media/image36.png"/><Relationship Id="rId27" Type="http://schemas.openxmlformats.org/officeDocument/2006/relationships/image" Target="../media/image41.svg"/><Relationship Id="rId30" Type="http://schemas.openxmlformats.org/officeDocument/2006/relationships/image" Target="../media/image44.png"/><Relationship Id="rId8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2.bin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Заголовок 141">
            <a:extLst>
              <a:ext uri="{FF2B5EF4-FFF2-40B4-BE49-F238E27FC236}">
                <a16:creationId xmlns:a16="http://schemas.microsoft.com/office/drawing/2014/main" id="{6124E2C6-2CD4-4E37-916C-F8135819D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34" y="314489"/>
            <a:ext cx="10505187" cy="590931"/>
          </a:xfrm>
        </p:spPr>
        <p:txBody>
          <a:bodyPr/>
          <a:lstStyle/>
          <a:p>
            <a:r>
              <a:rPr lang="ru-RU" dirty="0"/>
              <a:t>Реестр экспертов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09E054F-FBF9-4EF8-A775-A700D11CE3DF}"/>
              </a:ext>
            </a:extLst>
          </p:cNvPr>
          <p:cNvSpPr txBox="1"/>
          <p:nvPr/>
        </p:nvSpPr>
        <p:spPr>
          <a:xfrm>
            <a:off x="338752" y="820296"/>
            <a:ext cx="523299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SegoeUI"/>
              </a:defRPr>
            </a:lvl1pPr>
          </a:lstStyle>
          <a:p>
            <a:r>
              <a:rPr lang="ru-RU" sz="2500" b="1" dirty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EB886F67-4E59-4CE6-9F56-6ACA264619BD}"/>
              </a:ext>
            </a:extLst>
          </p:cNvPr>
          <p:cNvGrpSpPr/>
          <p:nvPr/>
        </p:nvGrpSpPr>
        <p:grpSpPr>
          <a:xfrm>
            <a:off x="520700" y="2651365"/>
            <a:ext cx="5078566" cy="2028733"/>
            <a:chOff x="450181" y="2314942"/>
            <a:chExt cx="4685013" cy="1871520"/>
          </a:xfrm>
        </p:grpSpPr>
        <p:pic>
          <p:nvPicPr>
            <p:cNvPr id="83" name="Рисунок 82">
              <a:extLst>
                <a:ext uri="{FF2B5EF4-FFF2-40B4-BE49-F238E27FC236}">
                  <a16:creationId xmlns:a16="http://schemas.microsoft.com/office/drawing/2014/main" id="{6CC686D6-AB25-4101-94CD-7EB1189F8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84921" y="2358554"/>
              <a:ext cx="1158930" cy="1158930"/>
            </a:xfrm>
            <a:prstGeom prst="rect">
              <a:avLst/>
            </a:prstGeom>
          </p:spPr>
        </p:pic>
        <p:pic>
          <p:nvPicPr>
            <p:cNvPr id="85" name="Рисунок 84">
              <a:extLst>
                <a:ext uri="{FF2B5EF4-FFF2-40B4-BE49-F238E27FC236}">
                  <a16:creationId xmlns:a16="http://schemas.microsoft.com/office/drawing/2014/main" id="{74203802-878F-4584-BD24-C3177D035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34521" y="2368793"/>
              <a:ext cx="1161305" cy="1161305"/>
            </a:xfrm>
            <a:prstGeom prst="rect">
              <a:avLst/>
            </a:prstGeom>
          </p:spPr>
        </p:pic>
        <p:graphicFrame>
          <p:nvGraphicFramePr>
            <p:cNvPr id="5" name="Диаграмма 4">
              <a:extLst>
                <a:ext uri="{FF2B5EF4-FFF2-40B4-BE49-F238E27FC236}">
                  <a16:creationId xmlns:a16="http://schemas.microsoft.com/office/drawing/2014/main" id="{7F54DE2F-27AA-4304-8584-61EF54BEECB5}"/>
                </a:ext>
              </a:extLst>
            </p:cNvPr>
            <p:cNvGraphicFramePr/>
            <p:nvPr/>
          </p:nvGraphicFramePr>
          <p:xfrm>
            <a:off x="1381579" y="2314942"/>
            <a:ext cx="2593689" cy="186335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F1C9A224-90A2-4819-A9A1-3AD78FD69DED}"/>
                </a:ext>
              </a:extLst>
            </p:cNvPr>
            <p:cNvSpPr txBox="1"/>
            <p:nvPr/>
          </p:nvSpPr>
          <p:spPr>
            <a:xfrm>
              <a:off x="450181" y="3419861"/>
              <a:ext cx="1564390" cy="7666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800" dirty="0">
                  <a:solidFill>
                    <a:srgbClr val="F79646"/>
                  </a:solidFill>
                </a:rPr>
                <a:t>42%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BBA68E58-FB66-4BC9-B29F-04A2E10F95CC}"/>
                </a:ext>
              </a:extLst>
            </p:cNvPr>
            <p:cNvSpPr txBox="1"/>
            <p:nvPr/>
          </p:nvSpPr>
          <p:spPr>
            <a:xfrm>
              <a:off x="3574381" y="3419861"/>
              <a:ext cx="1560813" cy="7666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800" dirty="0">
                  <a:solidFill>
                    <a:srgbClr val="F79646"/>
                  </a:solidFill>
                </a:rPr>
                <a:t>58%</a:t>
              </a:r>
            </a:p>
          </p:txBody>
        </p:sp>
      </p:grp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id="{6CBCC89E-8CE8-4BE8-8EA8-342B23936144}"/>
              </a:ext>
            </a:extLst>
          </p:cNvPr>
          <p:cNvGrpSpPr/>
          <p:nvPr/>
        </p:nvGrpSpPr>
        <p:grpSpPr>
          <a:xfrm>
            <a:off x="6199397" y="1256420"/>
            <a:ext cx="5685623" cy="4705294"/>
            <a:chOff x="6199397" y="1358020"/>
            <a:chExt cx="5685623" cy="4705294"/>
          </a:xfrm>
        </p:grpSpPr>
        <p:sp>
          <p:nvSpPr>
            <p:cNvPr id="130" name="Прямоугольник 129">
              <a:extLst>
                <a:ext uri="{FF2B5EF4-FFF2-40B4-BE49-F238E27FC236}">
                  <a16:creationId xmlns:a16="http://schemas.microsoft.com/office/drawing/2014/main" id="{891A5A75-AB94-425C-860E-63BF59D7A561}"/>
                </a:ext>
              </a:extLst>
            </p:cNvPr>
            <p:cNvSpPr/>
            <p:nvPr/>
          </p:nvSpPr>
          <p:spPr>
            <a:xfrm>
              <a:off x="7117681" y="4322718"/>
              <a:ext cx="349919" cy="706482"/>
            </a:xfrm>
            <a:prstGeom prst="rect">
              <a:avLst/>
            </a:prstGeom>
            <a:solidFill>
              <a:srgbClr val="2F4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1" name="Прямоугольник 130">
              <a:extLst>
                <a:ext uri="{FF2B5EF4-FFF2-40B4-BE49-F238E27FC236}">
                  <a16:creationId xmlns:a16="http://schemas.microsoft.com/office/drawing/2014/main" id="{3BD0633C-712D-47BF-A02F-E137AE95DB4A}"/>
                </a:ext>
              </a:extLst>
            </p:cNvPr>
            <p:cNvSpPr/>
            <p:nvPr/>
          </p:nvSpPr>
          <p:spPr>
            <a:xfrm>
              <a:off x="7117681" y="5326018"/>
              <a:ext cx="464219" cy="706482"/>
            </a:xfrm>
            <a:prstGeom prst="rect">
              <a:avLst/>
            </a:prstGeom>
            <a:solidFill>
              <a:srgbClr val="2F4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8" name="Прямоугольник 127">
              <a:extLst>
                <a:ext uri="{FF2B5EF4-FFF2-40B4-BE49-F238E27FC236}">
                  <a16:creationId xmlns:a16="http://schemas.microsoft.com/office/drawing/2014/main" id="{EDBA39BC-5307-4F1E-B548-D1DE106572FE}"/>
                </a:ext>
              </a:extLst>
            </p:cNvPr>
            <p:cNvSpPr/>
            <p:nvPr/>
          </p:nvSpPr>
          <p:spPr>
            <a:xfrm>
              <a:off x="7117681" y="3306718"/>
              <a:ext cx="908719" cy="706482"/>
            </a:xfrm>
            <a:prstGeom prst="rect">
              <a:avLst/>
            </a:prstGeom>
            <a:solidFill>
              <a:srgbClr val="2F4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Прямоугольник 126">
              <a:extLst>
                <a:ext uri="{FF2B5EF4-FFF2-40B4-BE49-F238E27FC236}">
                  <a16:creationId xmlns:a16="http://schemas.microsoft.com/office/drawing/2014/main" id="{CD54E79C-617C-4B3F-85E7-9892EC803D03}"/>
                </a:ext>
              </a:extLst>
            </p:cNvPr>
            <p:cNvSpPr/>
            <p:nvPr/>
          </p:nvSpPr>
          <p:spPr>
            <a:xfrm>
              <a:off x="7117681" y="2303418"/>
              <a:ext cx="4325019" cy="706482"/>
            </a:xfrm>
            <a:prstGeom prst="rect">
              <a:avLst/>
            </a:prstGeom>
            <a:solidFill>
              <a:srgbClr val="2F4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4F930F2B-90A3-465B-A2CE-3520580EA7D2}"/>
                </a:ext>
              </a:extLst>
            </p:cNvPr>
            <p:cNvSpPr txBox="1"/>
            <p:nvPr/>
          </p:nvSpPr>
          <p:spPr>
            <a:xfrm>
              <a:off x="6199397" y="1358020"/>
              <a:ext cx="4201903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180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UI"/>
                </a:defRPr>
              </a:lvl1pPr>
            </a:lstStyle>
            <a:p>
              <a:r>
                <a:rPr lang="ru-RU" sz="3200" b="1" dirty="0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rPr>
                <a:t>ОБРАЗОВАНИЕ</a:t>
              </a:r>
            </a:p>
          </p:txBody>
        </p:sp>
        <p:pic>
          <p:nvPicPr>
            <p:cNvPr id="76" name="Рисунок 75">
              <a:extLst>
                <a:ext uri="{FF2B5EF4-FFF2-40B4-BE49-F238E27FC236}">
                  <a16:creationId xmlns:a16="http://schemas.microsoft.com/office/drawing/2014/main" id="{26591BDC-6DB2-47E0-A7EB-B5DBAD74CB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257464" y="2310124"/>
              <a:ext cx="654972" cy="654970"/>
            </a:xfrm>
            <a:prstGeom prst="rect">
              <a:avLst/>
            </a:prstGeom>
          </p:spPr>
        </p:pic>
        <p:pic>
          <p:nvPicPr>
            <p:cNvPr id="79" name="Рисунок 78">
              <a:extLst>
                <a:ext uri="{FF2B5EF4-FFF2-40B4-BE49-F238E27FC236}">
                  <a16:creationId xmlns:a16="http://schemas.microsoft.com/office/drawing/2014/main" id="{3B6D54D3-7D80-4C13-B306-40B34D43F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83319" y="3358264"/>
              <a:ext cx="603262" cy="603262"/>
            </a:xfrm>
            <a:prstGeom prst="rect">
              <a:avLst/>
            </a:prstGeom>
          </p:spPr>
        </p:pic>
        <p:pic>
          <p:nvPicPr>
            <p:cNvPr id="81" name="Рисунок 80">
              <a:extLst>
                <a:ext uri="{FF2B5EF4-FFF2-40B4-BE49-F238E27FC236}">
                  <a16:creationId xmlns:a16="http://schemas.microsoft.com/office/drawing/2014/main" id="{E1899AF0-B1CA-43A3-B2BA-49AF918E0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266448" y="4355098"/>
              <a:ext cx="662404" cy="662404"/>
            </a:xfrm>
            <a:prstGeom prst="rect">
              <a:avLst/>
            </a:prstGeom>
          </p:spPr>
        </p:pic>
        <p:grpSp>
          <p:nvGrpSpPr>
            <p:cNvPr id="118" name="Рисунок 116">
              <a:extLst>
                <a:ext uri="{FF2B5EF4-FFF2-40B4-BE49-F238E27FC236}">
                  <a16:creationId xmlns:a16="http://schemas.microsoft.com/office/drawing/2014/main" id="{7633DAD7-D4BB-4EA5-B87A-05EEEE84D6D3}"/>
                </a:ext>
              </a:extLst>
            </p:cNvPr>
            <p:cNvGrpSpPr/>
            <p:nvPr/>
          </p:nvGrpSpPr>
          <p:grpSpPr>
            <a:xfrm>
              <a:off x="6286500" y="5302657"/>
              <a:ext cx="622300" cy="738222"/>
              <a:chOff x="3767137" y="1595378"/>
              <a:chExt cx="3095223" cy="3671802"/>
            </a:xfrm>
            <a:solidFill>
              <a:schemeClr val="bg1">
                <a:lumMod val="75000"/>
              </a:schemeClr>
            </a:solidFill>
          </p:grpSpPr>
          <p:sp>
            <p:nvSpPr>
              <p:cNvPr id="119" name="Полилиния: фигура 118">
                <a:extLst>
                  <a:ext uri="{FF2B5EF4-FFF2-40B4-BE49-F238E27FC236}">
                    <a16:creationId xmlns:a16="http://schemas.microsoft.com/office/drawing/2014/main" id="{9C4D46B7-E41C-4A5D-86A9-4D11D33B2418}"/>
                  </a:ext>
                </a:extLst>
              </p:cNvPr>
              <p:cNvSpPr/>
              <p:nvPr/>
            </p:nvSpPr>
            <p:spPr>
              <a:xfrm>
                <a:off x="4497687" y="1595378"/>
                <a:ext cx="1635098" cy="2178641"/>
              </a:xfrm>
              <a:custGeom>
                <a:avLst/>
                <a:gdLst>
                  <a:gd name="connsiteX0" fmla="*/ 1539057 w 1635098"/>
                  <a:gd name="connsiteY0" fmla="*/ 1039094 h 2178641"/>
                  <a:gd name="connsiteX1" fmla="*/ 1566679 w 1635098"/>
                  <a:gd name="connsiteY1" fmla="*/ 936224 h 2178641"/>
                  <a:gd name="connsiteX2" fmla="*/ 1355224 w 1635098"/>
                  <a:gd name="connsiteY2" fmla="*/ 265664 h 2178641"/>
                  <a:gd name="connsiteX3" fmla="*/ 1162819 w 1635098"/>
                  <a:gd name="connsiteY3" fmla="*/ 86593 h 2178641"/>
                  <a:gd name="connsiteX4" fmla="*/ 768484 w 1635098"/>
                  <a:gd name="connsiteY4" fmla="*/ 2773 h 2178641"/>
                  <a:gd name="connsiteX5" fmla="*/ 611322 w 1635098"/>
                  <a:gd name="connsiteY5" fmla="*/ 32301 h 2178641"/>
                  <a:gd name="connsiteX6" fmla="*/ 437967 w 1635098"/>
                  <a:gd name="connsiteY6" fmla="*/ 120883 h 2178641"/>
                  <a:gd name="connsiteX7" fmla="*/ 259849 w 1635098"/>
                  <a:gd name="connsiteY7" fmla="*/ 267568 h 2178641"/>
                  <a:gd name="connsiteX8" fmla="*/ 67444 w 1635098"/>
                  <a:gd name="connsiteY8" fmla="*/ 604754 h 2178641"/>
                  <a:gd name="connsiteX9" fmla="*/ 69349 w 1635098"/>
                  <a:gd name="connsiteY9" fmla="*/ 934319 h 2178641"/>
                  <a:gd name="connsiteX10" fmla="*/ 96972 w 1635098"/>
                  <a:gd name="connsiteY10" fmla="*/ 1037188 h 2178641"/>
                  <a:gd name="connsiteX11" fmla="*/ 28392 w 1635098"/>
                  <a:gd name="connsiteY11" fmla="*/ 1320081 h 2178641"/>
                  <a:gd name="connsiteX12" fmla="*/ 164599 w 1635098"/>
                  <a:gd name="connsiteY12" fmla="*/ 1557254 h 2178641"/>
                  <a:gd name="connsiteX13" fmla="*/ 641802 w 1635098"/>
                  <a:gd name="connsiteY13" fmla="*/ 2148756 h 2178641"/>
                  <a:gd name="connsiteX14" fmla="*/ 992322 w 1635098"/>
                  <a:gd name="connsiteY14" fmla="*/ 2147803 h 2178641"/>
                  <a:gd name="connsiteX15" fmla="*/ 1470477 w 1635098"/>
                  <a:gd name="connsiteY15" fmla="*/ 1557254 h 2178641"/>
                  <a:gd name="connsiteX16" fmla="*/ 1606684 w 1635098"/>
                  <a:gd name="connsiteY16" fmla="*/ 1320081 h 2178641"/>
                  <a:gd name="connsiteX17" fmla="*/ 1539057 w 1635098"/>
                  <a:gd name="connsiteY17" fmla="*/ 1039094 h 217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35098" h="2178641">
                    <a:moveTo>
                      <a:pt x="1539057" y="1039094"/>
                    </a:moveTo>
                    <a:cubicBezTo>
                      <a:pt x="1551439" y="1004804"/>
                      <a:pt x="1560012" y="970513"/>
                      <a:pt x="1566679" y="936224"/>
                    </a:cubicBezTo>
                    <a:cubicBezTo>
                      <a:pt x="1674312" y="288524"/>
                      <a:pt x="1355224" y="265664"/>
                      <a:pt x="1355224" y="265664"/>
                    </a:cubicBezTo>
                    <a:cubicBezTo>
                      <a:pt x="1355224" y="265664"/>
                      <a:pt x="1301884" y="163746"/>
                      <a:pt x="1162819" y="86593"/>
                    </a:cubicBezTo>
                    <a:cubicBezTo>
                      <a:pt x="1069474" y="31348"/>
                      <a:pt x="939934" y="-11514"/>
                      <a:pt x="768484" y="2773"/>
                    </a:cubicBezTo>
                    <a:cubicBezTo>
                      <a:pt x="713239" y="5631"/>
                      <a:pt x="660852" y="16108"/>
                      <a:pt x="611322" y="32301"/>
                    </a:cubicBezTo>
                    <a:cubicBezTo>
                      <a:pt x="548457" y="53256"/>
                      <a:pt x="490354" y="84688"/>
                      <a:pt x="437967" y="120883"/>
                    </a:cubicBezTo>
                    <a:cubicBezTo>
                      <a:pt x="374149" y="161841"/>
                      <a:pt x="313189" y="211371"/>
                      <a:pt x="259849" y="267568"/>
                    </a:cubicBezTo>
                    <a:cubicBezTo>
                      <a:pt x="175077" y="354246"/>
                      <a:pt x="99829" y="465689"/>
                      <a:pt x="67444" y="604754"/>
                    </a:cubicBezTo>
                    <a:cubicBezTo>
                      <a:pt x="39822" y="708576"/>
                      <a:pt x="46489" y="817161"/>
                      <a:pt x="69349" y="934319"/>
                    </a:cubicBezTo>
                    <a:cubicBezTo>
                      <a:pt x="76017" y="968608"/>
                      <a:pt x="84589" y="1002899"/>
                      <a:pt x="96972" y="1037188"/>
                    </a:cubicBezTo>
                    <a:cubicBezTo>
                      <a:pt x="33154" y="1033379"/>
                      <a:pt x="-42093" y="1069574"/>
                      <a:pt x="28392" y="1320081"/>
                    </a:cubicBezTo>
                    <a:cubicBezTo>
                      <a:pt x="79827" y="1502961"/>
                      <a:pt x="128404" y="1554396"/>
                      <a:pt x="164599" y="1557254"/>
                    </a:cubicBezTo>
                    <a:cubicBezTo>
                      <a:pt x="197937" y="1775376"/>
                      <a:pt x="365577" y="2051601"/>
                      <a:pt x="641802" y="2148756"/>
                    </a:cubicBezTo>
                    <a:cubicBezTo>
                      <a:pt x="755149" y="2188761"/>
                      <a:pt x="878974" y="2188761"/>
                      <a:pt x="992322" y="2147803"/>
                    </a:cubicBezTo>
                    <a:cubicBezTo>
                      <a:pt x="1263784" y="2049696"/>
                      <a:pt x="1437139" y="1774424"/>
                      <a:pt x="1470477" y="1557254"/>
                    </a:cubicBezTo>
                    <a:cubicBezTo>
                      <a:pt x="1506672" y="1554396"/>
                      <a:pt x="1555249" y="1502961"/>
                      <a:pt x="1606684" y="1320081"/>
                    </a:cubicBezTo>
                    <a:cubicBezTo>
                      <a:pt x="1677169" y="1069574"/>
                      <a:pt x="1601922" y="1032426"/>
                      <a:pt x="1539057" y="103909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1" name="Полилиния: фигура 120">
                <a:extLst>
                  <a:ext uri="{FF2B5EF4-FFF2-40B4-BE49-F238E27FC236}">
                    <a16:creationId xmlns:a16="http://schemas.microsoft.com/office/drawing/2014/main" id="{7F6A6A17-651A-4250-A04B-6B11DF919AAA}"/>
                  </a:ext>
                </a:extLst>
              </p:cNvPr>
              <p:cNvSpPr/>
              <p:nvPr/>
            </p:nvSpPr>
            <p:spPr>
              <a:xfrm>
                <a:off x="3767137" y="3682221"/>
                <a:ext cx="3095223" cy="1584959"/>
              </a:xfrm>
              <a:custGeom>
                <a:avLst/>
                <a:gdLst>
                  <a:gd name="connsiteX0" fmla="*/ 2801102 w 3095223"/>
                  <a:gd name="connsiteY0" fmla="*/ 320993 h 1584959"/>
                  <a:gd name="connsiteX1" fmla="*/ 2097204 w 3095223"/>
                  <a:gd name="connsiteY1" fmla="*/ 0 h 1584959"/>
                  <a:gd name="connsiteX2" fmla="*/ 1850507 w 3095223"/>
                  <a:gd name="connsiteY2" fmla="*/ 779145 h 1584959"/>
                  <a:gd name="connsiteX3" fmla="*/ 1803834 w 3095223"/>
                  <a:gd name="connsiteY3" fmla="*/ 925830 h 1584959"/>
                  <a:gd name="connsiteX4" fmla="*/ 1802882 w 3095223"/>
                  <a:gd name="connsiteY4" fmla="*/ 923925 h 1584959"/>
                  <a:gd name="connsiteX5" fmla="*/ 1762877 w 3095223"/>
                  <a:gd name="connsiteY5" fmla="*/ 1047750 h 1584959"/>
                  <a:gd name="connsiteX6" fmla="*/ 1633337 w 3095223"/>
                  <a:gd name="connsiteY6" fmla="*/ 679133 h 1584959"/>
                  <a:gd name="connsiteX7" fmla="*/ 1547612 w 3095223"/>
                  <a:gd name="connsiteY7" fmla="*/ 239078 h 1584959"/>
                  <a:gd name="connsiteX8" fmla="*/ 1461887 w 3095223"/>
                  <a:gd name="connsiteY8" fmla="*/ 679133 h 1584959"/>
                  <a:gd name="connsiteX9" fmla="*/ 1332347 w 3095223"/>
                  <a:gd name="connsiteY9" fmla="*/ 1047750 h 1584959"/>
                  <a:gd name="connsiteX10" fmla="*/ 1292342 w 3095223"/>
                  <a:gd name="connsiteY10" fmla="*/ 923925 h 1584959"/>
                  <a:gd name="connsiteX11" fmla="*/ 1291389 w 3095223"/>
                  <a:gd name="connsiteY11" fmla="*/ 925830 h 1584959"/>
                  <a:gd name="connsiteX12" fmla="*/ 1244717 w 3095223"/>
                  <a:gd name="connsiteY12" fmla="*/ 779145 h 1584959"/>
                  <a:gd name="connsiteX13" fmla="*/ 998019 w 3095223"/>
                  <a:gd name="connsiteY13" fmla="*/ 0 h 1584959"/>
                  <a:gd name="connsiteX14" fmla="*/ 294122 w 3095223"/>
                  <a:gd name="connsiteY14" fmla="*/ 320993 h 1584959"/>
                  <a:gd name="connsiteX15" fmla="*/ 2657 w 3095223"/>
                  <a:gd name="connsiteY15" fmla="*/ 894397 h 1584959"/>
                  <a:gd name="connsiteX16" fmla="*/ 35994 w 3095223"/>
                  <a:gd name="connsiteY16" fmla="*/ 1217295 h 1584959"/>
                  <a:gd name="connsiteX17" fmla="*/ 1547612 w 3095223"/>
                  <a:gd name="connsiteY17" fmla="*/ 1584960 h 1584959"/>
                  <a:gd name="connsiteX18" fmla="*/ 3059229 w 3095223"/>
                  <a:gd name="connsiteY18" fmla="*/ 1217295 h 1584959"/>
                  <a:gd name="connsiteX19" fmla="*/ 3092567 w 3095223"/>
                  <a:gd name="connsiteY19" fmla="*/ 894397 h 1584959"/>
                  <a:gd name="connsiteX20" fmla="*/ 2801102 w 3095223"/>
                  <a:gd name="connsiteY20" fmla="*/ 320993 h 1584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095223" h="1584959">
                    <a:moveTo>
                      <a:pt x="2801102" y="320993"/>
                    </a:moveTo>
                    <a:cubicBezTo>
                      <a:pt x="2412482" y="221933"/>
                      <a:pt x="2097204" y="0"/>
                      <a:pt x="2097204" y="0"/>
                    </a:cubicBezTo>
                    <a:lnTo>
                      <a:pt x="1850507" y="779145"/>
                    </a:lnTo>
                    <a:lnTo>
                      <a:pt x="1803834" y="925830"/>
                    </a:lnTo>
                    <a:lnTo>
                      <a:pt x="1802882" y="923925"/>
                    </a:lnTo>
                    <a:lnTo>
                      <a:pt x="1762877" y="1047750"/>
                    </a:lnTo>
                    <a:lnTo>
                      <a:pt x="1633337" y="679133"/>
                    </a:lnTo>
                    <a:cubicBezTo>
                      <a:pt x="1952424" y="233363"/>
                      <a:pt x="1568567" y="238125"/>
                      <a:pt x="1547612" y="239078"/>
                    </a:cubicBezTo>
                    <a:cubicBezTo>
                      <a:pt x="1525704" y="238125"/>
                      <a:pt x="1141847" y="234315"/>
                      <a:pt x="1461887" y="679133"/>
                    </a:cubicBezTo>
                    <a:lnTo>
                      <a:pt x="1332347" y="1047750"/>
                    </a:lnTo>
                    <a:lnTo>
                      <a:pt x="1292342" y="923925"/>
                    </a:lnTo>
                    <a:lnTo>
                      <a:pt x="1291389" y="925830"/>
                    </a:lnTo>
                    <a:lnTo>
                      <a:pt x="1244717" y="779145"/>
                    </a:lnTo>
                    <a:lnTo>
                      <a:pt x="998019" y="0"/>
                    </a:lnTo>
                    <a:cubicBezTo>
                      <a:pt x="998019" y="0"/>
                      <a:pt x="682742" y="221933"/>
                      <a:pt x="294122" y="320993"/>
                    </a:cubicBezTo>
                    <a:cubicBezTo>
                      <a:pt x="4562" y="395288"/>
                      <a:pt x="-8773" y="728663"/>
                      <a:pt x="2657" y="894397"/>
                    </a:cubicBezTo>
                    <a:cubicBezTo>
                      <a:pt x="2657" y="894397"/>
                      <a:pt x="19802" y="1119188"/>
                      <a:pt x="35994" y="1217295"/>
                    </a:cubicBezTo>
                    <a:cubicBezTo>
                      <a:pt x="35994" y="1217295"/>
                      <a:pt x="600827" y="1584960"/>
                      <a:pt x="1547612" y="1584960"/>
                    </a:cubicBezTo>
                    <a:cubicBezTo>
                      <a:pt x="2494397" y="1584960"/>
                      <a:pt x="3059229" y="1217295"/>
                      <a:pt x="3059229" y="1217295"/>
                    </a:cubicBezTo>
                    <a:cubicBezTo>
                      <a:pt x="3076374" y="1118235"/>
                      <a:pt x="3092567" y="894397"/>
                      <a:pt x="3092567" y="894397"/>
                    </a:cubicBezTo>
                    <a:cubicBezTo>
                      <a:pt x="3103997" y="728663"/>
                      <a:pt x="3090662" y="394335"/>
                      <a:pt x="2801102" y="32099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AF4BB21F-1DD5-43BA-A8B4-508866F22310}"/>
                </a:ext>
              </a:extLst>
            </p:cNvPr>
            <p:cNvSpPr txBox="1"/>
            <p:nvPr/>
          </p:nvSpPr>
          <p:spPr>
            <a:xfrm>
              <a:off x="7117681" y="2283973"/>
              <a:ext cx="1442119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400" dirty="0">
                  <a:solidFill>
                    <a:srgbClr val="F79646"/>
                  </a:solidFill>
                </a:rPr>
                <a:t>92%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9B3B195C-09E6-466A-B90A-953F75C135D0}"/>
                </a:ext>
              </a:extLst>
            </p:cNvPr>
            <p:cNvSpPr txBox="1"/>
            <p:nvPr/>
          </p:nvSpPr>
          <p:spPr>
            <a:xfrm>
              <a:off x="7117681" y="3287273"/>
              <a:ext cx="1302419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400" dirty="0">
                  <a:solidFill>
                    <a:srgbClr val="F79646"/>
                  </a:solidFill>
                </a:rPr>
                <a:t>15%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F0D0BAEC-7D0D-4CEF-82AC-6258C326539C}"/>
                </a:ext>
              </a:extLst>
            </p:cNvPr>
            <p:cNvSpPr txBox="1"/>
            <p:nvPr/>
          </p:nvSpPr>
          <p:spPr>
            <a:xfrm>
              <a:off x="7117681" y="4290573"/>
              <a:ext cx="1302419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400" dirty="0">
                  <a:solidFill>
                    <a:srgbClr val="F79646"/>
                  </a:solidFill>
                </a:rPr>
                <a:t>4%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A7ED7A59-2D7B-422F-98C4-693F3B5E9369}"/>
                </a:ext>
              </a:extLst>
            </p:cNvPr>
            <p:cNvSpPr txBox="1"/>
            <p:nvPr/>
          </p:nvSpPr>
          <p:spPr>
            <a:xfrm>
              <a:off x="7117681" y="5293873"/>
              <a:ext cx="1302419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400" dirty="0">
                  <a:solidFill>
                    <a:srgbClr val="F79646"/>
                  </a:solidFill>
                </a:rPr>
                <a:t>6%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4C6EE3A1-7339-4513-AF07-BF4FF73AB393}"/>
                </a:ext>
              </a:extLst>
            </p:cNvPr>
            <p:cNvSpPr txBox="1"/>
            <p:nvPr/>
          </p:nvSpPr>
          <p:spPr>
            <a:xfrm>
              <a:off x="8432800" y="2453915"/>
              <a:ext cx="33274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000" b="1" dirty="0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rPr>
                <a:t>высшее юридическое </a:t>
              </a:r>
              <a:endParaRPr lang="ru-RU" sz="1800" b="1" dirty="0">
                <a:latin typeface="Montserrat" panose="00000500000000000000" pitchFamily="2" charset="-52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DD8D753A-5929-4D2F-A2CC-32F5FCE0FF5B}"/>
                </a:ext>
              </a:extLst>
            </p:cNvPr>
            <p:cNvSpPr txBox="1"/>
            <p:nvPr/>
          </p:nvSpPr>
          <p:spPr>
            <a:xfrm>
              <a:off x="8293099" y="3457215"/>
              <a:ext cx="359192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000" b="1" dirty="0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rPr>
                <a:t>высшее экономическое </a:t>
              </a:r>
              <a:endParaRPr lang="ru-RU" sz="1800" b="1" dirty="0">
                <a:latin typeface="Montserrat" panose="00000500000000000000" pitchFamily="2" charset="-52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4DF95B18-FC92-4484-A448-D50FC835EB6B}"/>
                </a:ext>
              </a:extLst>
            </p:cNvPr>
            <p:cNvSpPr txBox="1"/>
            <p:nvPr/>
          </p:nvSpPr>
          <p:spPr>
            <a:xfrm>
              <a:off x="8153399" y="4473215"/>
              <a:ext cx="370329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000" b="1" dirty="0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rPr>
                <a:t>высшее педагогическое </a:t>
              </a:r>
              <a:endParaRPr lang="ru-RU" sz="1800" b="1" dirty="0">
                <a:latin typeface="Montserrat" panose="00000500000000000000" pitchFamily="2" charset="-52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8279B8FD-7F78-4783-8B7F-B56DFCA35C9D}"/>
                </a:ext>
              </a:extLst>
            </p:cNvPr>
            <p:cNvSpPr txBox="1"/>
            <p:nvPr/>
          </p:nvSpPr>
          <p:spPr>
            <a:xfrm>
              <a:off x="8153400" y="5476515"/>
              <a:ext cx="3480544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000" b="1" dirty="0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rPr>
                <a:t>иные специализации </a:t>
              </a:r>
              <a:endParaRPr lang="ru-RU" sz="1800" b="1" dirty="0">
                <a:latin typeface="Montserrat" panose="00000500000000000000" pitchFamily="2" charset="-52"/>
              </a:endParaRP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E5F5AAD5-5804-4128-9781-0E105454FDEF}"/>
              </a:ext>
            </a:extLst>
          </p:cNvPr>
          <p:cNvGrpSpPr/>
          <p:nvPr/>
        </p:nvGrpSpPr>
        <p:grpSpPr>
          <a:xfrm>
            <a:off x="326051" y="5542769"/>
            <a:ext cx="4192103" cy="1107996"/>
            <a:chOff x="332328" y="3145745"/>
            <a:chExt cx="4192103" cy="1107996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D54728F-CD1A-497F-B437-1EED037AD02E}"/>
                </a:ext>
              </a:extLst>
            </p:cNvPr>
            <p:cNvSpPr txBox="1"/>
            <p:nvPr/>
          </p:nvSpPr>
          <p:spPr>
            <a:xfrm>
              <a:off x="332328" y="3145745"/>
              <a:ext cx="1798583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6600" b="0" dirty="0">
                  <a:solidFill>
                    <a:srgbClr val="F79646"/>
                  </a:solidFill>
                  <a:latin typeface="+mj-lt"/>
                </a:rPr>
                <a:t>146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7B52DBC-6315-4CAC-A5C3-72333BA90A34}"/>
                </a:ext>
              </a:extLst>
            </p:cNvPr>
            <p:cNvSpPr txBox="1"/>
            <p:nvPr/>
          </p:nvSpPr>
          <p:spPr>
            <a:xfrm>
              <a:off x="1990522" y="3553423"/>
              <a:ext cx="253390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180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UI"/>
                </a:defRPr>
              </a:lvl1pPr>
            </a:lstStyle>
            <a:p>
              <a:r>
                <a:rPr lang="ru-RU" sz="3200" b="1" dirty="0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rPr>
                <a:t>эксперт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3741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Box 74">
            <a:extLst>
              <a:ext uri="{FF2B5EF4-FFF2-40B4-BE49-F238E27FC236}">
                <a16:creationId xmlns:a16="http://schemas.microsoft.com/office/drawing/2014/main" id="{F09E054F-FBF9-4EF8-A775-A700D11CE3DF}"/>
              </a:ext>
            </a:extLst>
          </p:cNvPr>
          <p:cNvSpPr txBox="1"/>
          <p:nvPr/>
        </p:nvSpPr>
        <p:spPr>
          <a:xfrm>
            <a:off x="338752" y="820296"/>
            <a:ext cx="523299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SegoeUI"/>
              </a:defRPr>
            </a:lvl1pPr>
          </a:lstStyle>
          <a:p>
            <a:r>
              <a:rPr lang="ru-RU" sz="2500" b="1" dirty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2E82AF30-7463-487C-ADE6-FB92FB43F33F}"/>
              </a:ext>
            </a:extLst>
          </p:cNvPr>
          <p:cNvGrpSpPr/>
          <p:nvPr/>
        </p:nvGrpSpPr>
        <p:grpSpPr>
          <a:xfrm>
            <a:off x="2447493" y="1099468"/>
            <a:ext cx="9157471" cy="4625098"/>
            <a:chOff x="2343272" y="726080"/>
            <a:chExt cx="5820381" cy="2660474"/>
          </a:xfrm>
          <a:solidFill>
            <a:srgbClr val="143452"/>
          </a:solidFill>
        </p:grpSpPr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F632E151-CF52-4AD3-82C9-3D4294E6B7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392535" y="1392253"/>
              <a:ext cx="1266825" cy="590550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1B7CE915-BAB1-452C-8A06-197AF8C1FA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94903" y="1494034"/>
              <a:ext cx="2114550" cy="1028700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3DBDB0A0-3F59-43EF-AF1C-73D7A2C149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150749" y="1072533"/>
              <a:ext cx="1104900" cy="666750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9D3C07FE-51A7-4E67-8CCD-E2E41D2CB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201549" y="726080"/>
              <a:ext cx="1047750" cy="571500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71C1582D-1596-4EE2-83C4-C9E3D484A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185005" y="944941"/>
              <a:ext cx="800100" cy="714375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983C61EA-437C-4ABE-BA2E-0137C7031A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15853" y="1308479"/>
              <a:ext cx="1447800" cy="1057275"/>
            </a:xfrm>
            <a:prstGeom prst="rect">
              <a:avLst/>
            </a:prstGeom>
          </p:spPr>
        </p:pic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F01E82BC-AC9E-428E-884A-7D89EC95CE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261999" y="2165591"/>
              <a:ext cx="1276350" cy="981075"/>
            </a:xfrm>
            <a:prstGeom prst="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77B1C3CA-A823-48AD-AFB6-2A5E781E30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604102" y="2493116"/>
              <a:ext cx="981075" cy="676275"/>
            </a:xfrm>
            <a:prstGeom prst="rect">
              <a:avLst/>
            </a:prstGeom>
          </p:spPr>
        </p:pic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B07AF4BD-243F-4A7B-BC74-4FF0D8216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156200" y="2510254"/>
              <a:ext cx="666750" cy="876300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81ADC393-E6C6-465F-AD4D-DB1DBD969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248149" y="2112765"/>
              <a:ext cx="1057275" cy="933450"/>
            </a:xfrm>
            <a:prstGeom prst="rect">
              <a:avLst/>
            </a:prstGeom>
          </p:spPr>
        </p:pic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061EDFAB-B004-46F7-B7F9-6A9A53CBE5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4288064" y="839802"/>
              <a:ext cx="1114425" cy="1209675"/>
            </a:xfrm>
            <a:prstGeom prst="rect">
              <a:avLst/>
            </a:prstGeom>
          </p:spPr>
        </p:pic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B07FA16A-7D2E-4E55-9BF4-3E67CF0D40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3635375" y="1509727"/>
              <a:ext cx="1276350" cy="1114425"/>
            </a:xfrm>
            <a:prstGeom prst="rect">
              <a:avLst/>
            </a:prstGeom>
          </p:spPr>
        </p:pic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A65836F1-018B-44B6-A32F-9DAEFFE736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2869528" y="2311717"/>
              <a:ext cx="923925" cy="1019175"/>
            </a:xfrm>
            <a:prstGeom prst="rect">
              <a:avLst/>
            </a:prstGeom>
          </p:spPr>
        </p:pic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F9CE0C72-1DA2-4F0E-A7A5-56BCB5F20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2343272" y="1889504"/>
              <a:ext cx="1428750" cy="476250"/>
            </a:xfrm>
            <a:prstGeom prst="rect">
              <a:avLst/>
            </a:prstGeom>
          </p:spPr>
        </p:pic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2425545E-D5C1-4318-9DA3-12D7801F5671}"/>
              </a:ext>
            </a:extLst>
          </p:cNvPr>
          <p:cNvGrpSpPr/>
          <p:nvPr/>
        </p:nvGrpSpPr>
        <p:grpSpPr>
          <a:xfrm>
            <a:off x="3364426" y="1301475"/>
            <a:ext cx="8155530" cy="4097343"/>
            <a:chOff x="2037648" y="1239212"/>
            <a:chExt cx="8353839" cy="4196979"/>
          </a:xfrm>
        </p:grpSpPr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06BBCB74-E870-4238-A62E-E9F7A6A79191}"/>
                </a:ext>
              </a:extLst>
            </p:cNvPr>
            <p:cNvGrpSpPr/>
            <p:nvPr/>
          </p:nvGrpSpPr>
          <p:grpSpPr>
            <a:xfrm>
              <a:off x="5540082" y="1239212"/>
              <a:ext cx="2018366" cy="514945"/>
              <a:chOff x="5247981" y="1442410"/>
              <a:chExt cx="2018366" cy="514944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CE478918-A071-4B33-B3D4-ECF18372CAFC}"/>
                  </a:ext>
                </a:extLst>
              </p:cNvPr>
              <p:cNvSpPr txBox="1"/>
              <p:nvPr/>
            </p:nvSpPr>
            <p:spPr>
              <a:xfrm>
                <a:off x="5247981" y="1657857"/>
                <a:ext cx="2018366" cy="2994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Петропавловск</a:t>
                </a:r>
              </a:p>
            </p:txBody>
          </p:sp>
          <p:sp>
            <p:nvSpPr>
              <p:cNvPr id="71" name="Овал 70">
                <a:extLst>
                  <a:ext uri="{FF2B5EF4-FFF2-40B4-BE49-F238E27FC236}">
                    <a16:creationId xmlns:a16="http://schemas.microsoft.com/office/drawing/2014/main" id="{FDD866C4-702D-4BEC-9B49-5094EC6053F0}"/>
                  </a:ext>
                </a:extLst>
              </p:cNvPr>
              <p:cNvSpPr/>
              <p:nvPr/>
            </p:nvSpPr>
            <p:spPr>
              <a:xfrm>
                <a:off x="5980848" y="1442410"/>
                <a:ext cx="122609" cy="122610"/>
              </a:xfrm>
              <a:prstGeom prst="ellipse">
                <a:avLst/>
              </a:prstGeom>
              <a:solidFill>
                <a:srgbClr val="F79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id="{5C5A70DD-314B-4F38-A249-8CDE195B94F2}"/>
                </a:ext>
              </a:extLst>
            </p:cNvPr>
            <p:cNvGrpSpPr/>
            <p:nvPr/>
          </p:nvGrpSpPr>
          <p:grpSpPr>
            <a:xfrm>
              <a:off x="5971487" y="1926722"/>
              <a:ext cx="1599555" cy="693016"/>
              <a:chOff x="5150188" y="945117"/>
              <a:chExt cx="1599555" cy="693016"/>
            </a:xfrm>
          </p:grpSpPr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53862DF5-5A9A-49DE-ABD3-DC4A5183F545}"/>
                  </a:ext>
                </a:extLst>
              </p:cNvPr>
              <p:cNvSpPr txBox="1"/>
              <p:nvPr/>
            </p:nvSpPr>
            <p:spPr>
              <a:xfrm>
                <a:off x="5150188" y="945117"/>
                <a:ext cx="1599555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НУР-СУЛТАН</a:t>
                </a:r>
              </a:p>
            </p:txBody>
          </p:sp>
          <p:sp>
            <p:nvSpPr>
              <p:cNvPr id="69" name="Овал 68">
                <a:extLst>
                  <a:ext uri="{FF2B5EF4-FFF2-40B4-BE49-F238E27FC236}">
                    <a16:creationId xmlns:a16="http://schemas.microsoft.com/office/drawing/2014/main" id="{61525D74-5FFF-488C-A3FC-7787E66C33FB}"/>
                  </a:ext>
                </a:extLst>
              </p:cNvPr>
              <p:cNvSpPr/>
              <p:nvPr/>
            </p:nvSpPr>
            <p:spPr>
              <a:xfrm>
                <a:off x="5824915" y="1221428"/>
                <a:ext cx="416706" cy="416705"/>
              </a:xfrm>
              <a:prstGeom prst="ellipse">
                <a:avLst/>
              </a:prstGeom>
              <a:solidFill>
                <a:srgbClr val="F79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 dirty="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90965267-2BD4-405B-A7C6-34AA462B0665}"/>
                </a:ext>
              </a:extLst>
            </p:cNvPr>
            <p:cNvGrpSpPr/>
            <p:nvPr/>
          </p:nvGrpSpPr>
          <p:grpSpPr>
            <a:xfrm>
              <a:off x="7485971" y="1624971"/>
              <a:ext cx="1204228" cy="444090"/>
              <a:chOff x="5419605" y="1165530"/>
              <a:chExt cx="1204227" cy="444090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5B574971-3DEE-4B4D-A474-4B885E17E220}"/>
                  </a:ext>
                </a:extLst>
              </p:cNvPr>
              <p:cNvSpPr txBox="1"/>
              <p:nvPr/>
            </p:nvSpPr>
            <p:spPr>
              <a:xfrm>
                <a:off x="5419605" y="1165530"/>
                <a:ext cx="1204227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Павлодар</a:t>
                </a:r>
              </a:p>
            </p:txBody>
          </p:sp>
          <p:sp>
            <p:nvSpPr>
              <p:cNvPr id="67" name="Овал 66">
                <a:extLst>
                  <a:ext uri="{FF2B5EF4-FFF2-40B4-BE49-F238E27FC236}">
                    <a16:creationId xmlns:a16="http://schemas.microsoft.com/office/drawing/2014/main" id="{B77C0275-4561-494E-BEFF-BCD856E84E7D}"/>
                  </a:ext>
                </a:extLst>
              </p:cNvPr>
              <p:cNvSpPr/>
              <p:nvPr/>
            </p:nvSpPr>
            <p:spPr>
              <a:xfrm>
                <a:off x="6070049" y="1487011"/>
                <a:ext cx="122609" cy="122609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27" name="Группа 26">
              <a:extLst>
                <a:ext uri="{FF2B5EF4-FFF2-40B4-BE49-F238E27FC236}">
                  <a16:creationId xmlns:a16="http://schemas.microsoft.com/office/drawing/2014/main" id="{A313B306-1CF2-4518-AC66-27B71F538BE8}"/>
                </a:ext>
              </a:extLst>
            </p:cNvPr>
            <p:cNvGrpSpPr/>
            <p:nvPr/>
          </p:nvGrpSpPr>
          <p:grpSpPr>
            <a:xfrm>
              <a:off x="8410508" y="2470339"/>
              <a:ext cx="863996" cy="403777"/>
              <a:chOff x="5523579" y="1257879"/>
              <a:chExt cx="863996" cy="403777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57406D5-BDC8-4536-991E-6C21D4EA797F}"/>
                  </a:ext>
                </a:extLst>
              </p:cNvPr>
              <p:cNvSpPr txBox="1"/>
              <p:nvPr/>
            </p:nvSpPr>
            <p:spPr>
              <a:xfrm>
                <a:off x="5523579" y="1257879"/>
                <a:ext cx="863996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Семей</a:t>
                </a:r>
              </a:p>
            </p:txBody>
          </p:sp>
          <p:sp>
            <p:nvSpPr>
              <p:cNvPr id="65" name="Овал 64">
                <a:extLst>
                  <a:ext uri="{FF2B5EF4-FFF2-40B4-BE49-F238E27FC236}">
                    <a16:creationId xmlns:a16="http://schemas.microsoft.com/office/drawing/2014/main" id="{6EA92AB1-448C-4DCA-9D20-107062ED98DD}"/>
                  </a:ext>
                </a:extLst>
              </p:cNvPr>
              <p:cNvSpPr/>
              <p:nvPr/>
            </p:nvSpPr>
            <p:spPr>
              <a:xfrm>
                <a:off x="6044031" y="1539047"/>
                <a:ext cx="122609" cy="122609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28" name="Группа 27">
              <a:extLst>
                <a:ext uri="{FF2B5EF4-FFF2-40B4-BE49-F238E27FC236}">
                  <a16:creationId xmlns:a16="http://schemas.microsoft.com/office/drawing/2014/main" id="{A4F1F391-D7B0-495C-9461-AF8F5E21DEBF}"/>
                </a:ext>
              </a:extLst>
            </p:cNvPr>
            <p:cNvGrpSpPr/>
            <p:nvPr/>
          </p:nvGrpSpPr>
          <p:grpSpPr>
            <a:xfrm>
              <a:off x="8417605" y="2860835"/>
              <a:ext cx="1973882" cy="542716"/>
              <a:chOff x="5100660" y="1487011"/>
              <a:chExt cx="1973882" cy="542716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1BA27F62-E11B-4E73-AC3C-F0764285B526}"/>
                  </a:ext>
                </a:extLst>
              </p:cNvPr>
              <p:cNvSpPr txBox="1"/>
              <p:nvPr/>
            </p:nvSpPr>
            <p:spPr>
              <a:xfrm>
                <a:off x="5100660" y="1730229"/>
                <a:ext cx="1973882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Усть-Каменогорск</a:t>
                </a:r>
              </a:p>
            </p:txBody>
          </p:sp>
          <p:sp>
            <p:nvSpPr>
              <p:cNvPr id="63" name="Овал 62">
                <a:extLst>
                  <a:ext uri="{FF2B5EF4-FFF2-40B4-BE49-F238E27FC236}">
                    <a16:creationId xmlns:a16="http://schemas.microsoft.com/office/drawing/2014/main" id="{597090C3-84F3-4754-8061-78DE1D5DA1D2}"/>
                  </a:ext>
                </a:extLst>
              </p:cNvPr>
              <p:cNvSpPr/>
              <p:nvPr/>
            </p:nvSpPr>
            <p:spPr>
              <a:xfrm>
                <a:off x="6070049" y="1487011"/>
                <a:ext cx="122609" cy="122609"/>
              </a:xfrm>
              <a:prstGeom prst="ellipse">
                <a:avLst/>
              </a:prstGeom>
              <a:solidFill>
                <a:srgbClr val="F79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29" name="Группа 28">
              <a:extLst>
                <a:ext uri="{FF2B5EF4-FFF2-40B4-BE49-F238E27FC236}">
                  <a16:creationId xmlns:a16="http://schemas.microsoft.com/office/drawing/2014/main" id="{552F834F-D9E7-4D40-9444-C58A22C264A7}"/>
                </a:ext>
              </a:extLst>
            </p:cNvPr>
            <p:cNvGrpSpPr/>
            <p:nvPr/>
          </p:nvGrpSpPr>
          <p:grpSpPr>
            <a:xfrm>
              <a:off x="7788970" y="3787342"/>
              <a:ext cx="1699131" cy="452997"/>
              <a:chOff x="5348417" y="1117601"/>
              <a:chExt cx="1699131" cy="452997"/>
            </a:xfrm>
          </p:grpSpPr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4293AA98-F4A6-441A-AEDD-33E6CB5D9DC0}"/>
                  </a:ext>
                </a:extLst>
              </p:cNvPr>
              <p:cNvSpPr txBox="1"/>
              <p:nvPr/>
            </p:nvSpPr>
            <p:spPr>
              <a:xfrm>
                <a:off x="5348417" y="1117601"/>
                <a:ext cx="1699131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Талдыкорган</a:t>
                </a:r>
              </a:p>
            </p:txBody>
          </p:sp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5F248335-5221-432D-9E24-F00FEB4E24F9}"/>
                  </a:ext>
                </a:extLst>
              </p:cNvPr>
              <p:cNvSpPr/>
              <p:nvPr/>
            </p:nvSpPr>
            <p:spPr>
              <a:xfrm>
                <a:off x="6116881" y="1447989"/>
                <a:ext cx="122609" cy="122609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2D533A3D-A297-4894-A927-8B1E148C99E5}"/>
                </a:ext>
              </a:extLst>
            </p:cNvPr>
            <p:cNvGrpSpPr/>
            <p:nvPr/>
          </p:nvGrpSpPr>
          <p:grpSpPr>
            <a:xfrm>
              <a:off x="4515920" y="1732121"/>
              <a:ext cx="1309301" cy="536714"/>
              <a:chOff x="5348890" y="1472144"/>
              <a:chExt cx="1309301" cy="536714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DA397830-F3EE-40CC-B408-0190E5A3F679}"/>
                  </a:ext>
                </a:extLst>
              </p:cNvPr>
              <p:cNvSpPr txBox="1"/>
              <p:nvPr/>
            </p:nvSpPr>
            <p:spPr>
              <a:xfrm>
                <a:off x="5348890" y="1709360"/>
                <a:ext cx="1309301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Костанай</a:t>
                </a:r>
              </a:p>
            </p:txBody>
          </p:sp>
          <p:sp>
            <p:nvSpPr>
              <p:cNvPr id="59" name="Овал 58">
                <a:extLst>
                  <a:ext uri="{FF2B5EF4-FFF2-40B4-BE49-F238E27FC236}">
                    <a16:creationId xmlns:a16="http://schemas.microsoft.com/office/drawing/2014/main" id="{4C9389C3-6E8A-4E0B-8654-90EEE7D76579}"/>
                  </a:ext>
                </a:extLst>
              </p:cNvPr>
              <p:cNvSpPr/>
              <p:nvPr/>
            </p:nvSpPr>
            <p:spPr>
              <a:xfrm>
                <a:off x="6010581" y="1472144"/>
                <a:ext cx="122609" cy="122609"/>
              </a:xfrm>
              <a:prstGeom prst="ellipse">
                <a:avLst/>
              </a:prstGeom>
              <a:solidFill>
                <a:srgbClr val="F79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8BFF3971-EBC9-4527-8D22-6F26ACE4225B}"/>
                </a:ext>
              </a:extLst>
            </p:cNvPr>
            <p:cNvGrpSpPr/>
            <p:nvPr/>
          </p:nvGrpSpPr>
          <p:grpSpPr>
            <a:xfrm>
              <a:off x="6730923" y="2898232"/>
              <a:ext cx="1198069" cy="515080"/>
              <a:chOff x="5497653" y="1546801"/>
              <a:chExt cx="1198069" cy="515079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478DEB28-EEFC-4F37-9BD2-84CEA44EE179}"/>
                  </a:ext>
                </a:extLst>
              </p:cNvPr>
              <p:cNvSpPr txBox="1"/>
              <p:nvPr/>
            </p:nvSpPr>
            <p:spPr>
              <a:xfrm>
                <a:off x="5497653" y="1762382"/>
                <a:ext cx="1198069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Караганда</a:t>
                </a:r>
              </a:p>
            </p:txBody>
          </p:sp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FFF5B08B-5A73-440C-A7AA-EE43F808DB78}"/>
                  </a:ext>
                </a:extLst>
              </p:cNvPr>
              <p:cNvSpPr/>
              <p:nvPr/>
            </p:nvSpPr>
            <p:spPr>
              <a:xfrm>
                <a:off x="6099942" y="1546801"/>
                <a:ext cx="122608" cy="122609"/>
              </a:xfrm>
              <a:prstGeom prst="ellipse">
                <a:avLst/>
              </a:prstGeom>
              <a:solidFill>
                <a:srgbClr val="F79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2" name="Группа 31">
              <a:extLst>
                <a:ext uri="{FF2B5EF4-FFF2-40B4-BE49-F238E27FC236}">
                  <a16:creationId xmlns:a16="http://schemas.microsoft.com/office/drawing/2014/main" id="{0F2B54E7-FEDA-46E1-A41D-6AB9FD8EA6B5}"/>
                </a:ext>
              </a:extLst>
            </p:cNvPr>
            <p:cNvGrpSpPr/>
            <p:nvPr/>
          </p:nvGrpSpPr>
          <p:grpSpPr>
            <a:xfrm>
              <a:off x="6683276" y="4362119"/>
              <a:ext cx="856998" cy="608341"/>
              <a:chOff x="5832499" y="962252"/>
              <a:chExt cx="856998" cy="608341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8EF638C-D16A-44C0-BF8D-C71D9FCC90F4}"/>
                  </a:ext>
                </a:extLst>
              </p:cNvPr>
              <p:cNvSpPr txBox="1"/>
              <p:nvPr/>
            </p:nvSpPr>
            <p:spPr>
              <a:xfrm>
                <a:off x="5832499" y="962252"/>
                <a:ext cx="856998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Тараз</a:t>
                </a:r>
              </a:p>
            </p:txBody>
          </p:sp>
          <p:sp>
            <p:nvSpPr>
              <p:cNvPr id="55" name="Овал 54">
                <a:extLst>
                  <a:ext uri="{FF2B5EF4-FFF2-40B4-BE49-F238E27FC236}">
                    <a16:creationId xmlns:a16="http://schemas.microsoft.com/office/drawing/2014/main" id="{9F01BB85-A3F8-4B88-B9BE-2F1DFDF6186C}"/>
                  </a:ext>
                </a:extLst>
              </p:cNvPr>
              <p:cNvSpPr/>
              <p:nvPr/>
            </p:nvSpPr>
            <p:spPr>
              <a:xfrm>
                <a:off x="6070049" y="1447984"/>
                <a:ext cx="122609" cy="122609"/>
              </a:xfrm>
              <a:prstGeom prst="ellipse">
                <a:avLst/>
              </a:prstGeom>
              <a:solidFill>
                <a:srgbClr val="F79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id="{4796D051-E704-4EB7-B194-7A4C46C167DD}"/>
                </a:ext>
              </a:extLst>
            </p:cNvPr>
            <p:cNvGrpSpPr/>
            <p:nvPr/>
          </p:nvGrpSpPr>
          <p:grpSpPr>
            <a:xfrm>
              <a:off x="5620486" y="4897579"/>
              <a:ext cx="1183610" cy="538612"/>
              <a:chOff x="5370954" y="1467081"/>
              <a:chExt cx="1183610" cy="538612"/>
            </a:xfrm>
          </p:grpSpPr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8A9FBFA-93C9-48A7-9CFB-8EB97FEEA3D4}"/>
                  </a:ext>
                </a:extLst>
              </p:cNvPr>
              <p:cNvSpPr txBox="1"/>
              <p:nvPr/>
            </p:nvSpPr>
            <p:spPr>
              <a:xfrm>
                <a:off x="5370954" y="1706195"/>
                <a:ext cx="1183610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Шымкент</a:t>
                </a:r>
              </a:p>
            </p:txBody>
          </p:sp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9CE16C66-3588-40E8-88C0-9A0C1FF76E1F}"/>
                  </a:ext>
                </a:extLst>
              </p:cNvPr>
              <p:cNvSpPr/>
              <p:nvPr/>
            </p:nvSpPr>
            <p:spPr>
              <a:xfrm>
                <a:off x="5848207" y="1467081"/>
                <a:ext cx="122609" cy="122609"/>
              </a:xfrm>
              <a:prstGeom prst="ellipse">
                <a:avLst/>
              </a:prstGeom>
              <a:solidFill>
                <a:srgbClr val="F79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FE937EAC-A2D0-4E93-B433-A84D487D5B83}"/>
                </a:ext>
              </a:extLst>
            </p:cNvPr>
            <p:cNvGrpSpPr/>
            <p:nvPr/>
          </p:nvGrpSpPr>
          <p:grpSpPr>
            <a:xfrm>
              <a:off x="4734603" y="4207803"/>
              <a:ext cx="1394812" cy="429879"/>
              <a:chOff x="5309215" y="1487011"/>
              <a:chExt cx="1394812" cy="429878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4D55B100-ED6C-4139-A441-171E87AE088F}"/>
                  </a:ext>
                </a:extLst>
              </p:cNvPr>
              <p:cNvSpPr txBox="1"/>
              <p:nvPr/>
            </p:nvSpPr>
            <p:spPr>
              <a:xfrm>
                <a:off x="5309215" y="1617392"/>
                <a:ext cx="1394812" cy="2994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Кызылорда</a:t>
                </a:r>
              </a:p>
            </p:txBody>
          </p:sp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id="{9EF50A6B-55E8-4BBF-B95C-271C6B3D2C14}"/>
                  </a:ext>
                </a:extLst>
              </p:cNvPr>
              <p:cNvSpPr/>
              <p:nvPr/>
            </p:nvSpPr>
            <p:spPr>
              <a:xfrm>
                <a:off x="6070049" y="1487011"/>
                <a:ext cx="122609" cy="122609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98D67CF6-0064-4BC7-AE02-CFAD4CFBE4DD}"/>
                </a:ext>
              </a:extLst>
            </p:cNvPr>
            <p:cNvGrpSpPr/>
            <p:nvPr/>
          </p:nvGrpSpPr>
          <p:grpSpPr>
            <a:xfrm>
              <a:off x="2373751" y="4438383"/>
              <a:ext cx="788654" cy="433759"/>
              <a:chOff x="5920865" y="1175861"/>
              <a:chExt cx="788654" cy="433759"/>
            </a:xfrm>
          </p:grpSpPr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C47E80E2-A467-4697-A6DE-D22292925D81}"/>
                  </a:ext>
                </a:extLst>
              </p:cNvPr>
              <p:cNvSpPr txBox="1"/>
              <p:nvPr/>
            </p:nvSpPr>
            <p:spPr>
              <a:xfrm>
                <a:off x="5920865" y="1175861"/>
                <a:ext cx="788654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Актау</a:t>
                </a:r>
              </a:p>
            </p:txBody>
          </p:sp>
          <p:sp>
            <p:nvSpPr>
              <p:cNvPr id="49" name="Овал 48">
                <a:extLst>
                  <a:ext uri="{FF2B5EF4-FFF2-40B4-BE49-F238E27FC236}">
                    <a16:creationId xmlns:a16="http://schemas.microsoft.com/office/drawing/2014/main" id="{2F41C4B7-2D26-4C09-AE41-DEA41546DD6C}"/>
                  </a:ext>
                </a:extLst>
              </p:cNvPr>
              <p:cNvSpPr/>
              <p:nvPr/>
            </p:nvSpPr>
            <p:spPr>
              <a:xfrm>
                <a:off x="6070049" y="1487011"/>
                <a:ext cx="122609" cy="122609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6" name="Группа 35">
              <a:extLst>
                <a:ext uri="{FF2B5EF4-FFF2-40B4-BE49-F238E27FC236}">
                  <a16:creationId xmlns:a16="http://schemas.microsoft.com/office/drawing/2014/main" id="{99445544-0E00-4940-9349-F958D3B03191}"/>
                </a:ext>
              </a:extLst>
            </p:cNvPr>
            <p:cNvGrpSpPr/>
            <p:nvPr/>
          </p:nvGrpSpPr>
          <p:grpSpPr>
            <a:xfrm>
              <a:off x="2197858" y="3300050"/>
              <a:ext cx="996319" cy="448070"/>
              <a:chOff x="5494006" y="1161550"/>
              <a:chExt cx="996319" cy="448070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5CE80D4-755D-4E66-BB4D-A7739CBC314B}"/>
                  </a:ext>
                </a:extLst>
              </p:cNvPr>
              <p:cNvSpPr txBox="1"/>
              <p:nvPr/>
            </p:nvSpPr>
            <p:spPr>
              <a:xfrm>
                <a:off x="5494006" y="1161550"/>
                <a:ext cx="996319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Атырау</a:t>
                </a:r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F25B0FD7-9D62-4463-AC92-AA55D7124A23}"/>
                  </a:ext>
                </a:extLst>
              </p:cNvPr>
              <p:cNvSpPr/>
              <p:nvPr/>
            </p:nvSpPr>
            <p:spPr>
              <a:xfrm>
                <a:off x="6070049" y="1487011"/>
                <a:ext cx="122609" cy="122609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A4194413-5B04-4F7A-84BE-32B33A615A71}"/>
                </a:ext>
              </a:extLst>
            </p:cNvPr>
            <p:cNvGrpSpPr/>
            <p:nvPr/>
          </p:nvGrpSpPr>
          <p:grpSpPr>
            <a:xfrm>
              <a:off x="2037648" y="2404585"/>
              <a:ext cx="1013873" cy="414923"/>
              <a:chOff x="5557915" y="1487011"/>
              <a:chExt cx="1013872" cy="414922"/>
            </a:xfrm>
          </p:grpSpPr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C5F36AF-344F-4A69-901B-342BAAA04A35}"/>
                  </a:ext>
                </a:extLst>
              </p:cNvPr>
              <p:cNvSpPr txBox="1"/>
              <p:nvPr/>
            </p:nvSpPr>
            <p:spPr>
              <a:xfrm>
                <a:off x="5557915" y="1602436"/>
                <a:ext cx="1013872" cy="2994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Уральск</a:t>
                </a:r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892EC9B3-44D1-4B89-A300-43ED54F979AB}"/>
                  </a:ext>
                </a:extLst>
              </p:cNvPr>
              <p:cNvSpPr/>
              <p:nvPr/>
            </p:nvSpPr>
            <p:spPr>
              <a:xfrm>
                <a:off x="6070049" y="1487011"/>
                <a:ext cx="122609" cy="122609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id="{9C346386-61CF-49B0-B403-A1FA0A224E17}"/>
                </a:ext>
              </a:extLst>
            </p:cNvPr>
            <p:cNvGrpSpPr/>
            <p:nvPr/>
          </p:nvGrpSpPr>
          <p:grpSpPr>
            <a:xfrm>
              <a:off x="3662820" y="3054527"/>
              <a:ext cx="950145" cy="551161"/>
              <a:chOff x="5759937" y="1487011"/>
              <a:chExt cx="950145" cy="551161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FF3ADE8D-4FEC-4737-B5BE-34B9AF030560}"/>
                  </a:ext>
                </a:extLst>
              </p:cNvPr>
              <p:cNvSpPr txBox="1"/>
              <p:nvPr/>
            </p:nvSpPr>
            <p:spPr>
              <a:xfrm>
                <a:off x="5759937" y="1738674"/>
                <a:ext cx="950145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Актобе</a:t>
                </a:r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49689A24-9B24-4B3F-98AD-9ABF4541D47F}"/>
                  </a:ext>
                </a:extLst>
              </p:cNvPr>
              <p:cNvSpPr/>
              <p:nvPr/>
            </p:nvSpPr>
            <p:spPr>
              <a:xfrm>
                <a:off x="6070049" y="1487011"/>
                <a:ext cx="122609" cy="122609"/>
              </a:xfrm>
              <a:prstGeom prst="ellipse">
                <a:avLst/>
              </a:prstGeom>
              <a:solidFill>
                <a:srgbClr val="F79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39" name="Группа 38">
              <a:extLst>
                <a:ext uri="{FF2B5EF4-FFF2-40B4-BE49-F238E27FC236}">
                  <a16:creationId xmlns:a16="http://schemas.microsoft.com/office/drawing/2014/main" id="{AD8BB412-5B4D-48C5-9E75-5D4FD25AB499}"/>
                </a:ext>
              </a:extLst>
            </p:cNvPr>
            <p:cNvGrpSpPr/>
            <p:nvPr/>
          </p:nvGrpSpPr>
          <p:grpSpPr>
            <a:xfrm>
              <a:off x="7285270" y="4134559"/>
              <a:ext cx="1284189" cy="699572"/>
              <a:chOff x="7113103" y="4082264"/>
              <a:chExt cx="1284189" cy="699572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BA61B741-B2AA-40BB-91C6-C25E40D920A5}"/>
                  </a:ext>
                </a:extLst>
              </p:cNvPr>
              <p:cNvSpPr txBox="1"/>
              <p:nvPr/>
            </p:nvSpPr>
            <p:spPr>
              <a:xfrm>
                <a:off x="7113103" y="4082264"/>
                <a:ext cx="1284189" cy="299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3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АЛМАТЫ</a:t>
                </a:r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6DB01669-B5EC-4B49-B4A1-8A2D62D760DC}"/>
                  </a:ext>
                </a:extLst>
              </p:cNvPr>
              <p:cNvSpPr/>
              <p:nvPr/>
            </p:nvSpPr>
            <p:spPr>
              <a:xfrm>
                <a:off x="7659353" y="4454098"/>
                <a:ext cx="327738" cy="327738"/>
              </a:xfrm>
              <a:prstGeom prst="ellipse">
                <a:avLst/>
              </a:prstGeom>
              <a:solidFill>
                <a:srgbClr val="F796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 dirty="0">
                  <a:solidFill>
                    <a:schemeClr val="bg1">
                      <a:lumMod val="75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F7E1B54E-FEC9-4A65-AE51-017A4F17456F}"/>
              </a:ext>
            </a:extLst>
          </p:cNvPr>
          <p:cNvGrpSpPr/>
          <p:nvPr/>
        </p:nvGrpSpPr>
        <p:grpSpPr>
          <a:xfrm>
            <a:off x="5374427" y="989207"/>
            <a:ext cx="5775775" cy="4266239"/>
            <a:chOff x="5646531" y="1551520"/>
            <a:chExt cx="5775775" cy="4266239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D22C8758-C511-4806-B7D7-2CF5F4604D62}"/>
                </a:ext>
              </a:extLst>
            </p:cNvPr>
            <p:cNvSpPr txBox="1"/>
            <p:nvPr/>
          </p:nvSpPr>
          <p:spPr>
            <a:xfrm>
              <a:off x="7105143" y="2605540"/>
              <a:ext cx="1083106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800" dirty="0">
                  <a:solidFill>
                    <a:srgbClr val="F79646"/>
                  </a:solidFill>
                </a:rPr>
                <a:t>93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AE5E8049-5793-455E-9883-8FAB9D8643C3}"/>
                </a:ext>
              </a:extLst>
            </p:cNvPr>
            <p:cNvSpPr txBox="1"/>
            <p:nvPr/>
          </p:nvSpPr>
          <p:spPr>
            <a:xfrm>
              <a:off x="8939614" y="3186768"/>
              <a:ext cx="47500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000" dirty="0">
                  <a:solidFill>
                    <a:srgbClr val="F79646"/>
                  </a:solidFill>
                </a:rPr>
                <a:t>7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F17A2A62-4127-464D-8672-B0B312DC0050}"/>
                </a:ext>
              </a:extLst>
            </p:cNvPr>
            <p:cNvSpPr txBox="1"/>
            <p:nvPr/>
          </p:nvSpPr>
          <p:spPr>
            <a:xfrm>
              <a:off x="5646531" y="3310258"/>
              <a:ext cx="47500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000" dirty="0">
                  <a:solidFill>
                    <a:srgbClr val="F79646"/>
                  </a:solidFill>
                </a:rPr>
                <a:t>2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FE6717E3-213B-4816-BF3F-1D5F46AD624A}"/>
                </a:ext>
              </a:extLst>
            </p:cNvPr>
            <p:cNvSpPr txBox="1"/>
            <p:nvPr/>
          </p:nvSpPr>
          <p:spPr>
            <a:xfrm>
              <a:off x="6837591" y="2026205"/>
              <a:ext cx="47500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000" dirty="0">
                  <a:solidFill>
                    <a:srgbClr val="F79646"/>
                  </a:solidFill>
                </a:rPr>
                <a:t>3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DA4E26A-E882-4B0F-8F98-03C48964C8B4}"/>
                </a:ext>
              </a:extLst>
            </p:cNvPr>
            <p:cNvSpPr txBox="1"/>
            <p:nvPr/>
          </p:nvSpPr>
          <p:spPr>
            <a:xfrm>
              <a:off x="9638925" y="4840470"/>
              <a:ext cx="910720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400" dirty="0">
                  <a:solidFill>
                    <a:srgbClr val="F79646"/>
                  </a:solidFill>
                </a:rPr>
                <a:t>35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E9DD3AF3-C1F5-444E-A5C8-2C25095F31C0}"/>
                </a:ext>
              </a:extLst>
            </p:cNvPr>
            <p:cNvSpPr txBox="1"/>
            <p:nvPr/>
          </p:nvSpPr>
          <p:spPr>
            <a:xfrm>
              <a:off x="8525108" y="5084475"/>
              <a:ext cx="47500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000" dirty="0">
                  <a:solidFill>
                    <a:srgbClr val="F79646"/>
                  </a:solidFill>
                </a:rPr>
                <a:t>2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963E3F9C-96E9-4610-BB13-2CED091FB0F7}"/>
                </a:ext>
              </a:extLst>
            </p:cNvPr>
            <p:cNvSpPr txBox="1"/>
            <p:nvPr/>
          </p:nvSpPr>
          <p:spPr>
            <a:xfrm>
              <a:off x="7706229" y="5109873"/>
              <a:ext cx="47500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000" dirty="0">
                  <a:solidFill>
                    <a:srgbClr val="F79646"/>
                  </a:solidFill>
                </a:rPr>
                <a:t>1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A6FE596F-DD06-44D8-8654-05AA917A3A7A}"/>
                </a:ext>
              </a:extLst>
            </p:cNvPr>
            <p:cNvSpPr txBox="1"/>
            <p:nvPr/>
          </p:nvSpPr>
          <p:spPr>
            <a:xfrm>
              <a:off x="10947297" y="3125431"/>
              <a:ext cx="47500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000" dirty="0">
                  <a:solidFill>
                    <a:srgbClr val="F79646"/>
                  </a:solidFill>
                </a:rPr>
                <a:t>1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7385B19B-B8B7-4C3F-85EE-660005E4B21E}"/>
                </a:ext>
              </a:extLst>
            </p:cNvPr>
            <p:cNvSpPr txBox="1"/>
            <p:nvPr/>
          </p:nvSpPr>
          <p:spPr>
            <a:xfrm>
              <a:off x="7884702" y="1551520"/>
              <a:ext cx="47500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4000" dirty="0">
                  <a:solidFill>
                    <a:srgbClr val="F79646"/>
                  </a:solidFill>
                </a:rPr>
                <a:t>2</a:t>
              </a:r>
            </a:p>
          </p:txBody>
        </p:sp>
      </p:grpSp>
      <p:grpSp>
        <p:nvGrpSpPr>
          <p:cNvPr id="101" name="Группа 100">
            <a:extLst>
              <a:ext uri="{FF2B5EF4-FFF2-40B4-BE49-F238E27FC236}">
                <a16:creationId xmlns:a16="http://schemas.microsoft.com/office/drawing/2014/main" id="{8BFDCE84-C58B-4421-BAFA-73C03B559E13}"/>
              </a:ext>
            </a:extLst>
          </p:cNvPr>
          <p:cNvGrpSpPr/>
          <p:nvPr/>
        </p:nvGrpSpPr>
        <p:grpSpPr>
          <a:xfrm>
            <a:off x="492498" y="4477016"/>
            <a:ext cx="2251122" cy="1161553"/>
            <a:chOff x="626756" y="4016186"/>
            <a:chExt cx="2251122" cy="1161553"/>
          </a:xfrm>
        </p:grpSpPr>
        <p:pic>
          <p:nvPicPr>
            <p:cNvPr id="83" name="Рисунок 82">
              <a:extLst>
                <a:ext uri="{FF2B5EF4-FFF2-40B4-BE49-F238E27FC236}">
                  <a16:creationId xmlns:a16="http://schemas.microsoft.com/office/drawing/2014/main" id="{6CC686D6-AB25-4101-94CD-7EB1189F8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1718948" y="4016186"/>
              <a:ext cx="1158930" cy="1158930"/>
            </a:xfrm>
            <a:prstGeom prst="rect">
              <a:avLst/>
            </a:prstGeom>
          </p:spPr>
        </p:pic>
        <p:pic>
          <p:nvPicPr>
            <p:cNvPr id="85" name="Рисунок 84">
              <a:extLst>
                <a:ext uri="{FF2B5EF4-FFF2-40B4-BE49-F238E27FC236}">
                  <a16:creationId xmlns:a16="http://schemas.microsoft.com/office/drawing/2014/main" id="{74203802-878F-4584-BD24-C3177D035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626756" y="4016434"/>
              <a:ext cx="1161305" cy="1161305"/>
            </a:xfrm>
            <a:prstGeom prst="rect">
              <a:avLst/>
            </a:prstGeom>
          </p:spPr>
        </p:pic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6E0DB6D9-FC23-49F7-A6A6-51308E4901BF}"/>
              </a:ext>
            </a:extLst>
          </p:cNvPr>
          <p:cNvSpPr txBox="1"/>
          <p:nvPr/>
        </p:nvSpPr>
        <p:spPr>
          <a:xfrm>
            <a:off x="5366791" y="5999682"/>
            <a:ext cx="65866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800" i="1" dirty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-52"/>
              </a:rPr>
              <a:t>*представительства в каждом областном центре  </a:t>
            </a:r>
            <a:br>
              <a:rPr lang="ru-RU" sz="1800" i="1" dirty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-52"/>
              </a:rPr>
            </a:br>
            <a:r>
              <a:rPr lang="ru-RU" sz="1800" i="1" dirty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-52"/>
              </a:rPr>
              <a:t> и городе республиканского значения</a:t>
            </a:r>
          </a:p>
        </p:txBody>
      </p: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4397D471-FDA4-4C1E-A95D-57693D1243FE}"/>
              </a:ext>
            </a:extLst>
          </p:cNvPr>
          <p:cNvGrpSpPr/>
          <p:nvPr/>
        </p:nvGrpSpPr>
        <p:grpSpPr>
          <a:xfrm>
            <a:off x="326051" y="5542769"/>
            <a:ext cx="4192103" cy="1107996"/>
            <a:chOff x="332328" y="3145745"/>
            <a:chExt cx="4192103" cy="1107996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EA32B5FE-DB09-483A-8A8A-6A2239A54D67}"/>
                </a:ext>
              </a:extLst>
            </p:cNvPr>
            <p:cNvSpPr txBox="1"/>
            <p:nvPr/>
          </p:nvSpPr>
          <p:spPr>
            <a:xfrm>
              <a:off x="332328" y="3145745"/>
              <a:ext cx="1798583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6600" b="0" dirty="0">
                  <a:solidFill>
                    <a:srgbClr val="F79646"/>
                  </a:solidFill>
                  <a:latin typeface="+mj-lt"/>
                </a:rPr>
                <a:t>146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89F55332-FFEC-4E5D-AFD2-B847122D041D}"/>
                </a:ext>
              </a:extLst>
            </p:cNvPr>
            <p:cNvSpPr txBox="1"/>
            <p:nvPr/>
          </p:nvSpPr>
          <p:spPr>
            <a:xfrm>
              <a:off x="1990522" y="3553423"/>
              <a:ext cx="253390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180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UI"/>
                </a:defRPr>
              </a:lvl1pPr>
            </a:lstStyle>
            <a:p>
              <a:r>
                <a:rPr lang="ru-RU" sz="3200" b="1" dirty="0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rPr>
                <a:t>экспертов</a:t>
              </a:r>
            </a:p>
          </p:txBody>
        </p:sp>
      </p:grp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A70923B-86AB-4BBB-9279-5D97D27723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34" y="314489"/>
            <a:ext cx="10505187" cy="590931"/>
          </a:xfrm>
        </p:spPr>
        <p:txBody>
          <a:bodyPr/>
          <a:lstStyle/>
          <a:p>
            <a:r>
              <a:rPr lang="ru-RU" dirty="0"/>
              <a:t>Реестр экспертов</a:t>
            </a:r>
          </a:p>
        </p:txBody>
      </p:sp>
    </p:spTree>
    <p:extLst>
      <p:ext uri="{BB962C8B-B14F-4D97-AF65-F5344CB8AC3E}">
        <p14:creationId xmlns:p14="http://schemas.microsoft.com/office/powerpoint/2010/main" val="152781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Box 74">
            <a:extLst>
              <a:ext uri="{FF2B5EF4-FFF2-40B4-BE49-F238E27FC236}">
                <a16:creationId xmlns:a16="http://schemas.microsoft.com/office/drawing/2014/main" id="{F09E054F-FBF9-4EF8-A775-A700D11CE3DF}"/>
              </a:ext>
            </a:extLst>
          </p:cNvPr>
          <p:cNvSpPr txBox="1"/>
          <p:nvPr/>
        </p:nvSpPr>
        <p:spPr>
          <a:xfrm>
            <a:off x="5380652" y="197996"/>
            <a:ext cx="523299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SegoeUI"/>
              </a:defRPr>
            </a:lvl1pPr>
          </a:lstStyle>
          <a:p>
            <a:r>
              <a:rPr lang="ru-RU" sz="2500" b="1" dirty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-52"/>
              </a:rPr>
              <a:t>НИИ государства и права имени Г. Сапаргалиева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25A01F41-C24F-4E04-9A99-BEEE9C0BB857}"/>
              </a:ext>
            </a:extLst>
          </p:cNvPr>
          <p:cNvGrpSpPr/>
          <p:nvPr/>
        </p:nvGrpSpPr>
        <p:grpSpPr>
          <a:xfrm>
            <a:off x="419100" y="1333500"/>
            <a:ext cx="5638800" cy="3993259"/>
            <a:chOff x="495300" y="1219200"/>
            <a:chExt cx="5638800" cy="399325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11D027-EB25-4374-8CD9-F765C869B2F1}"/>
                </a:ext>
              </a:extLst>
            </p:cNvPr>
            <p:cNvSpPr txBox="1"/>
            <p:nvPr/>
          </p:nvSpPr>
          <p:spPr>
            <a:xfrm>
              <a:off x="1754397" y="1319920"/>
              <a:ext cx="4379703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180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UI"/>
                </a:defRPr>
              </a:lvl1pPr>
            </a:lstStyle>
            <a:p>
              <a:r>
                <a:rPr lang="ru-RU" sz="2400" b="1" dirty="0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rPr>
                <a:t>НАУЧНЫЙ ПОТЕНЦИАЛ </a:t>
              </a:r>
            </a:p>
          </p:txBody>
        </p:sp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4B6271D3-B88F-4426-825A-FA70B18A7D5E}"/>
                </a:ext>
              </a:extLst>
            </p:cNvPr>
            <p:cNvGrpSpPr/>
            <p:nvPr/>
          </p:nvGrpSpPr>
          <p:grpSpPr>
            <a:xfrm>
              <a:off x="495300" y="2229328"/>
              <a:ext cx="4276011" cy="2983131"/>
              <a:chOff x="-622300" y="2229328"/>
              <a:chExt cx="4276011" cy="2983131"/>
            </a:xfrm>
          </p:grpSpPr>
          <p:grpSp>
            <p:nvGrpSpPr>
              <p:cNvPr id="3" name="Группа 2">
                <a:extLst>
                  <a:ext uri="{FF2B5EF4-FFF2-40B4-BE49-F238E27FC236}">
                    <a16:creationId xmlns:a16="http://schemas.microsoft.com/office/drawing/2014/main" id="{9ED8A915-32AB-4DFF-A6A8-F182F5A67103}"/>
                  </a:ext>
                </a:extLst>
              </p:cNvPr>
              <p:cNvGrpSpPr/>
              <p:nvPr/>
            </p:nvGrpSpPr>
            <p:grpSpPr>
              <a:xfrm flipH="1">
                <a:off x="2286000" y="2262794"/>
                <a:ext cx="1257300" cy="2890799"/>
                <a:chOff x="508000" y="2262794"/>
                <a:chExt cx="1333500" cy="2890799"/>
              </a:xfrm>
            </p:grpSpPr>
            <p:sp>
              <p:nvSpPr>
                <p:cNvPr id="29" name="Прямоугольник 28">
                  <a:extLst>
                    <a:ext uri="{FF2B5EF4-FFF2-40B4-BE49-F238E27FC236}">
                      <a16:creationId xmlns:a16="http://schemas.microsoft.com/office/drawing/2014/main" id="{C678B3F5-F885-4D85-9FDE-1E7D9A3C1904}"/>
                    </a:ext>
                  </a:extLst>
                </p:cNvPr>
                <p:cNvSpPr/>
                <p:nvPr/>
              </p:nvSpPr>
              <p:spPr>
                <a:xfrm>
                  <a:off x="508000" y="4599594"/>
                  <a:ext cx="1333500" cy="553999"/>
                </a:xfrm>
                <a:prstGeom prst="rect">
                  <a:avLst/>
                </a:prstGeom>
                <a:solidFill>
                  <a:srgbClr val="2F455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8" name="Прямоугольник 27">
                  <a:extLst>
                    <a:ext uri="{FF2B5EF4-FFF2-40B4-BE49-F238E27FC236}">
                      <a16:creationId xmlns:a16="http://schemas.microsoft.com/office/drawing/2014/main" id="{2B69C3FC-D53C-4E0D-80DE-6F8F6EDF8BBB}"/>
                    </a:ext>
                  </a:extLst>
                </p:cNvPr>
                <p:cNvSpPr/>
                <p:nvPr/>
              </p:nvSpPr>
              <p:spPr>
                <a:xfrm>
                  <a:off x="660400" y="3820660"/>
                  <a:ext cx="1181100" cy="553999"/>
                </a:xfrm>
                <a:prstGeom prst="rect">
                  <a:avLst/>
                </a:prstGeom>
                <a:solidFill>
                  <a:srgbClr val="2F455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7" name="Прямоугольник 26">
                  <a:extLst>
                    <a:ext uri="{FF2B5EF4-FFF2-40B4-BE49-F238E27FC236}">
                      <a16:creationId xmlns:a16="http://schemas.microsoft.com/office/drawing/2014/main" id="{E0B5B707-4F4F-4308-BEE7-BAF67F34D4F9}"/>
                    </a:ext>
                  </a:extLst>
                </p:cNvPr>
                <p:cNvSpPr/>
                <p:nvPr/>
              </p:nvSpPr>
              <p:spPr>
                <a:xfrm>
                  <a:off x="1257300" y="3041727"/>
                  <a:ext cx="584200" cy="553999"/>
                </a:xfrm>
                <a:prstGeom prst="rect">
                  <a:avLst/>
                </a:prstGeom>
                <a:solidFill>
                  <a:srgbClr val="2F455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6" name="Прямоугольник 25">
                  <a:extLst>
                    <a:ext uri="{FF2B5EF4-FFF2-40B4-BE49-F238E27FC236}">
                      <a16:creationId xmlns:a16="http://schemas.microsoft.com/office/drawing/2014/main" id="{A3300744-A914-413E-B326-02995E432AE2}"/>
                    </a:ext>
                  </a:extLst>
                </p:cNvPr>
                <p:cNvSpPr/>
                <p:nvPr/>
              </p:nvSpPr>
              <p:spPr>
                <a:xfrm>
                  <a:off x="1549400" y="2262794"/>
                  <a:ext cx="292100" cy="553999"/>
                </a:xfrm>
                <a:prstGeom prst="rect">
                  <a:avLst/>
                </a:prstGeom>
                <a:solidFill>
                  <a:srgbClr val="2F455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898027C-76B8-4845-88DC-B593A44E4DD2}"/>
                  </a:ext>
                </a:extLst>
              </p:cNvPr>
              <p:cNvSpPr txBox="1"/>
              <p:nvPr/>
            </p:nvSpPr>
            <p:spPr>
              <a:xfrm>
                <a:off x="2352324" y="4566128"/>
                <a:ext cx="1301387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Aft>
                    <a:spcPts val="1200"/>
                  </a:spcAft>
                  <a:defRPr sz="3600" b="1">
                    <a:solidFill>
                      <a:srgbClr val="F17E00"/>
                    </a:solidFill>
                    <a:latin typeface="Montserrat" panose="00000500000000000000" pitchFamily="2" charset="-52"/>
                  </a:defRPr>
                </a:lvl1pPr>
              </a:lstStyle>
              <a:p>
                <a:r>
                  <a:rPr lang="ru-RU" dirty="0">
                    <a:solidFill>
                      <a:srgbClr val="F79646"/>
                    </a:solidFill>
                  </a:rPr>
                  <a:t>23%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6616050-61A1-4834-B9EB-AAE3AE91FBE1}"/>
                  </a:ext>
                </a:extLst>
              </p:cNvPr>
              <p:cNvSpPr txBox="1"/>
              <p:nvPr/>
            </p:nvSpPr>
            <p:spPr>
              <a:xfrm>
                <a:off x="2352324" y="3774494"/>
                <a:ext cx="1233895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Aft>
                    <a:spcPts val="1200"/>
                  </a:spcAft>
                  <a:defRPr sz="3600" b="1">
                    <a:solidFill>
                      <a:srgbClr val="F17E00"/>
                    </a:solidFill>
                    <a:latin typeface="Montserrat" panose="00000500000000000000" pitchFamily="2" charset="-52"/>
                  </a:defRPr>
                </a:lvl1pPr>
              </a:lstStyle>
              <a:p>
                <a:r>
                  <a:rPr lang="ru-RU" dirty="0">
                    <a:solidFill>
                      <a:srgbClr val="F79646"/>
                    </a:solidFill>
                  </a:rPr>
                  <a:t>22%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449A69C0-1D79-46C2-81F7-D0FCBC590351}"/>
                  </a:ext>
                </a:extLst>
              </p:cNvPr>
              <p:cNvSpPr txBox="1"/>
              <p:nvPr/>
            </p:nvSpPr>
            <p:spPr>
              <a:xfrm>
                <a:off x="2352325" y="3008261"/>
                <a:ext cx="1190976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Aft>
                    <a:spcPts val="1200"/>
                  </a:spcAft>
                  <a:defRPr sz="3600" b="1">
                    <a:solidFill>
                      <a:srgbClr val="F17E00"/>
                    </a:solidFill>
                    <a:latin typeface="Montserrat" panose="00000500000000000000" pitchFamily="2" charset="-52"/>
                  </a:defRPr>
                </a:lvl1pPr>
              </a:lstStyle>
              <a:p>
                <a:r>
                  <a:rPr lang="ru-RU" dirty="0">
                    <a:solidFill>
                      <a:srgbClr val="F79646"/>
                    </a:solidFill>
                  </a:rPr>
                  <a:t>11%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97471C3F-5F97-49E6-B299-805EF5EB8272}"/>
                  </a:ext>
                </a:extLst>
              </p:cNvPr>
              <p:cNvSpPr txBox="1"/>
              <p:nvPr/>
            </p:nvSpPr>
            <p:spPr>
              <a:xfrm>
                <a:off x="2352324" y="2229328"/>
                <a:ext cx="1047285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Aft>
                    <a:spcPts val="1200"/>
                  </a:spcAft>
                  <a:defRPr sz="3600" b="1">
                    <a:solidFill>
                      <a:srgbClr val="F17E00"/>
                    </a:solidFill>
                    <a:latin typeface="Montserrat" panose="00000500000000000000" pitchFamily="2" charset="-52"/>
                  </a:defRPr>
                </a:lvl1pPr>
              </a:lstStyle>
              <a:p>
                <a:r>
                  <a:rPr lang="ru-RU" dirty="0">
                    <a:solidFill>
                      <a:srgbClr val="F79646"/>
                    </a:solidFill>
                  </a:rPr>
                  <a:t>4%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80D9A53-4E8F-47DA-AB9E-845F91E81A28}"/>
                  </a:ext>
                </a:extLst>
              </p:cNvPr>
              <p:cNvSpPr txBox="1"/>
              <p:nvPr/>
            </p:nvSpPr>
            <p:spPr>
              <a:xfrm>
                <a:off x="319296" y="4658461"/>
                <a:ext cx="1856293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Aft>
                    <a:spcPts val="1200"/>
                  </a:spcAft>
                  <a:defRPr sz="3000" b="1">
                    <a:solidFill>
                      <a:schemeClr val="bg1">
                        <a:lumMod val="85000"/>
                      </a:schemeClr>
                    </a:solidFill>
                    <a:latin typeface="Montserrat" panose="00000500000000000000" pitchFamily="2" charset="-52"/>
                  </a:defRPr>
                </a:lvl1pPr>
              </a:lstStyle>
              <a:p>
                <a:pPr algn="r"/>
                <a:r>
                  <a:rPr lang="ru-RU" sz="2400" dirty="0"/>
                  <a:t>Магистр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6ADD2C50-ECF1-461C-974E-38EB3855C2CD}"/>
                  </a:ext>
                </a:extLst>
              </p:cNvPr>
              <p:cNvSpPr txBox="1"/>
              <p:nvPr/>
            </p:nvSpPr>
            <p:spPr>
              <a:xfrm>
                <a:off x="918290" y="2321661"/>
                <a:ext cx="125730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Aft>
                    <a:spcPts val="1200"/>
                  </a:spcAft>
                  <a:defRPr sz="3000" b="1">
                    <a:solidFill>
                      <a:schemeClr val="bg1">
                        <a:lumMod val="85000"/>
                      </a:schemeClr>
                    </a:solidFill>
                    <a:latin typeface="Montserrat" panose="00000500000000000000" pitchFamily="2" charset="-52"/>
                  </a:defRPr>
                </a:lvl1pPr>
              </a:lstStyle>
              <a:p>
                <a:pPr algn="r"/>
                <a:r>
                  <a:rPr lang="en-US" sz="2400" dirty="0"/>
                  <a:t>PhD</a:t>
                </a:r>
                <a:endParaRPr lang="ru-RU" sz="2400" dirty="0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DC05B34-9447-47E6-90F4-12A0F03086CB}"/>
                  </a:ext>
                </a:extLst>
              </p:cNvPr>
              <p:cNvSpPr txBox="1"/>
              <p:nvPr/>
            </p:nvSpPr>
            <p:spPr>
              <a:xfrm>
                <a:off x="-304800" y="3100594"/>
                <a:ext cx="248039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Aft>
                    <a:spcPts val="1200"/>
                  </a:spcAft>
                  <a:defRPr sz="3000" b="1">
                    <a:solidFill>
                      <a:schemeClr val="bg1">
                        <a:lumMod val="85000"/>
                      </a:schemeClr>
                    </a:solidFill>
                    <a:latin typeface="Montserrat" panose="00000500000000000000" pitchFamily="2" charset="-52"/>
                  </a:defRPr>
                </a:lvl1pPr>
              </a:lstStyle>
              <a:p>
                <a:pPr algn="r"/>
                <a:r>
                  <a:rPr lang="ru-RU" sz="2400" dirty="0"/>
                  <a:t>Доктор наук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9AC8ECA-1DC8-4DC7-964C-70F2725A1116}"/>
                  </a:ext>
                </a:extLst>
              </p:cNvPr>
              <p:cNvSpPr txBox="1"/>
              <p:nvPr/>
            </p:nvSpPr>
            <p:spPr>
              <a:xfrm>
                <a:off x="-622300" y="3866827"/>
                <a:ext cx="279789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Aft>
                    <a:spcPts val="1200"/>
                  </a:spcAft>
                  <a:defRPr sz="3000" b="1">
                    <a:solidFill>
                      <a:schemeClr val="bg1">
                        <a:lumMod val="85000"/>
                      </a:schemeClr>
                    </a:solidFill>
                    <a:latin typeface="Montserrat" panose="00000500000000000000" pitchFamily="2" charset="-52"/>
                  </a:defRPr>
                </a:lvl1pPr>
              </a:lstStyle>
              <a:p>
                <a:pPr algn="r"/>
                <a:r>
                  <a:rPr lang="ru-RU" sz="2400" dirty="0"/>
                  <a:t>Кандидат наук</a:t>
                </a:r>
              </a:p>
            </p:txBody>
          </p:sp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77DD120F-E010-449E-8A22-BAA60D9CB3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89000" y="1219200"/>
              <a:ext cx="723900" cy="723900"/>
            </a:xfrm>
            <a:prstGeom prst="rect">
              <a:avLst/>
            </a:prstGeom>
          </p:spPr>
        </p:pic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CD716D3-DB0B-46B1-ACE9-6F244CD09882}"/>
              </a:ext>
            </a:extLst>
          </p:cNvPr>
          <p:cNvGrpSpPr/>
          <p:nvPr/>
        </p:nvGrpSpPr>
        <p:grpSpPr>
          <a:xfrm>
            <a:off x="5664199" y="1346200"/>
            <a:ext cx="6057901" cy="4952624"/>
            <a:chOff x="5626099" y="1346200"/>
            <a:chExt cx="6057901" cy="4952624"/>
          </a:xfrm>
        </p:grpSpPr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7C24429A-72A8-406F-8D23-1F58073158CD}"/>
                </a:ext>
              </a:extLst>
            </p:cNvPr>
            <p:cNvSpPr/>
            <p:nvPr/>
          </p:nvSpPr>
          <p:spPr>
            <a:xfrm flipH="1">
              <a:off x="8940800" y="4845185"/>
              <a:ext cx="1018903" cy="553999"/>
            </a:xfrm>
            <a:prstGeom prst="rect">
              <a:avLst/>
            </a:prstGeom>
            <a:solidFill>
              <a:srgbClr val="2F4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70353139-9F02-42E2-B935-C5AA80E8FB08}"/>
                </a:ext>
              </a:extLst>
            </p:cNvPr>
            <p:cNvSpPr/>
            <p:nvPr/>
          </p:nvSpPr>
          <p:spPr>
            <a:xfrm flipH="1">
              <a:off x="8940800" y="4022488"/>
              <a:ext cx="1293223" cy="553999"/>
            </a:xfrm>
            <a:prstGeom prst="rect">
              <a:avLst/>
            </a:prstGeom>
            <a:solidFill>
              <a:srgbClr val="2F4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7AA9EBD0-0ECD-4FB0-BB3B-EF13BE20D523}"/>
                </a:ext>
              </a:extLst>
            </p:cNvPr>
            <p:cNvSpPr/>
            <p:nvPr/>
          </p:nvSpPr>
          <p:spPr>
            <a:xfrm flipH="1">
              <a:off x="8940800" y="3199791"/>
              <a:ext cx="1397726" cy="553999"/>
            </a:xfrm>
            <a:prstGeom prst="rect">
              <a:avLst/>
            </a:prstGeom>
            <a:solidFill>
              <a:srgbClr val="2F4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A027E662-CF9D-445D-B1EC-21131902D7C3}"/>
                </a:ext>
              </a:extLst>
            </p:cNvPr>
            <p:cNvSpPr/>
            <p:nvPr/>
          </p:nvSpPr>
          <p:spPr>
            <a:xfrm flipH="1">
              <a:off x="8940800" y="2377094"/>
              <a:ext cx="2743200" cy="553999"/>
            </a:xfrm>
            <a:prstGeom prst="rect">
              <a:avLst/>
            </a:prstGeom>
            <a:solidFill>
              <a:srgbClr val="2F4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A39D9C57-7490-4FAD-BA73-0F2883D61611}"/>
                </a:ext>
              </a:extLst>
            </p:cNvPr>
            <p:cNvSpPr/>
            <p:nvPr/>
          </p:nvSpPr>
          <p:spPr>
            <a:xfrm flipH="1">
              <a:off x="8940800" y="5667882"/>
              <a:ext cx="287383" cy="553999"/>
            </a:xfrm>
            <a:prstGeom prst="rect">
              <a:avLst/>
            </a:prstGeom>
            <a:solidFill>
              <a:srgbClr val="2F4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CD169B0-F3BA-4E15-A976-06C6C4E4C3B1}"/>
                </a:ext>
              </a:extLst>
            </p:cNvPr>
            <p:cNvSpPr txBox="1"/>
            <p:nvPr/>
          </p:nvSpPr>
          <p:spPr>
            <a:xfrm>
              <a:off x="8991600" y="4808916"/>
              <a:ext cx="1241743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dirty="0">
                  <a:solidFill>
                    <a:srgbClr val="F79646"/>
                  </a:solidFill>
                </a:rPr>
                <a:t>27%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0C3283A-7736-49AB-BB2D-E873AB51900C}"/>
                </a:ext>
              </a:extLst>
            </p:cNvPr>
            <p:cNvSpPr txBox="1"/>
            <p:nvPr/>
          </p:nvSpPr>
          <p:spPr>
            <a:xfrm>
              <a:off x="8991600" y="3991882"/>
              <a:ext cx="1330643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dirty="0">
                  <a:solidFill>
                    <a:srgbClr val="F79646"/>
                  </a:solidFill>
                </a:rPr>
                <a:t>31%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D6DD3B7-2637-47BC-A511-A641418D70F4}"/>
                </a:ext>
              </a:extLst>
            </p:cNvPr>
            <p:cNvSpPr txBox="1"/>
            <p:nvPr/>
          </p:nvSpPr>
          <p:spPr>
            <a:xfrm>
              <a:off x="8991600" y="3173361"/>
              <a:ext cx="1241743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dirty="0">
                  <a:solidFill>
                    <a:srgbClr val="F79646"/>
                  </a:solidFill>
                </a:rPr>
                <a:t>33%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2BAD06F-28BF-4BFE-AEA4-EE3953545348}"/>
                </a:ext>
              </a:extLst>
            </p:cNvPr>
            <p:cNvSpPr txBox="1"/>
            <p:nvPr/>
          </p:nvSpPr>
          <p:spPr>
            <a:xfrm>
              <a:off x="8991600" y="2356328"/>
              <a:ext cx="1330643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dirty="0">
                  <a:solidFill>
                    <a:srgbClr val="F79646"/>
                  </a:solidFill>
                </a:rPr>
                <a:t>57%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9C51DEC-F14E-44AF-A8F9-3D05187B1653}"/>
                </a:ext>
              </a:extLst>
            </p:cNvPr>
            <p:cNvSpPr txBox="1"/>
            <p:nvPr/>
          </p:nvSpPr>
          <p:spPr>
            <a:xfrm>
              <a:off x="5702042" y="4765438"/>
              <a:ext cx="3102948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000" b="1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defRPr>
              </a:lvl1pPr>
            </a:lstStyle>
            <a:p>
              <a:pPr algn="r"/>
              <a:r>
                <a:rPr lang="ru-RU" sz="2000" dirty="0"/>
                <a:t>Научно-исследовательский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D7AA74A-B5F2-42C1-9D1F-9BC2F61E1874}"/>
                </a:ext>
              </a:extLst>
            </p:cNvPr>
            <p:cNvSpPr txBox="1"/>
            <p:nvPr/>
          </p:nvSpPr>
          <p:spPr>
            <a:xfrm>
              <a:off x="6023690" y="2466738"/>
              <a:ext cx="2781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000" b="1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defRPr>
              </a:lvl1pPr>
            </a:lstStyle>
            <a:p>
              <a:pPr algn="r"/>
              <a:r>
                <a:rPr lang="ru-RU" sz="2000" dirty="0"/>
                <a:t>Госслужба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167ED20-6815-43FA-B690-AF4E9B1492F1}"/>
                </a:ext>
              </a:extLst>
            </p:cNvPr>
            <p:cNvSpPr txBox="1"/>
            <p:nvPr/>
          </p:nvSpPr>
          <p:spPr>
            <a:xfrm>
              <a:off x="5785214" y="3271071"/>
              <a:ext cx="3019776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000" b="1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defRPr>
              </a:lvl1pPr>
            </a:lstStyle>
            <a:p>
              <a:pPr algn="r"/>
              <a:r>
                <a:rPr lang="ru-RU" sz="2000" dirty="0"/>
                <a:t>Педагогический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FAEA974-834A-4845-B35A-5A1A77AAE8DC}"/>
                </a:ext>
              </a:extLst>
            </p:cNvPr>
            <p:cNvSpPr txBox="1"/>
            <p:nvPr/>
          </p:nvSpPr>
          <p:spPr>
            <a:xfrm>
              <a:off x="5626099" y="3948404"/>
              <a:ext cx="3178891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000" b="1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defRPr>
              </a:lvl1pPr>
            </a:lstStyle>
            <a:p>
              <a:pPr algn="r"/>
              <a:r>
                <a:rPr lang="ru-RU" sz="2000" dirty="0"/>
                <a:t>Научная экспертиза проектов НПА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303D385-3836-45B1-889E-E9F80E541412}"/>
                </a:ext>
              </a:extLst>
            </p:cNvPr>
            <p:cNvSpPr txBox="1"/>
            <p:nvPr/>
          </p:nvSpPr>
          <p:spPr>
            <a:xfrm>
              <a:off x="8991600" y="5634416"/>
              <a:ext cx="949643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dirty="0">
                  <a:solidFill>
                    <a:srgbClr val="F79646"/>
                  </a:solidFill>
                </a:rPr>
                <a:t>8%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E34CEBB-9CD1-4E38-ADD6-CADDC7B86A5C}"/>
                </a:ext>
              </a:extLst>
            </p:cNvPr>
            <p:cNvSpPr txBox="1"/>
            <p:nvPr/>
          </p:nvSpPr>
          <p:spPr>
            <a:xfrm>
              <a:off x="6510438" y="5590938"/>
              <a:ext cx="2294552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000" b="1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defRPr>
              </a:lvl1pPr>
            </a:lstStyle>
            <a:p>
              <a:pPr algn="r"/>
              <a:r>
                <a:rPr lang="ru-RU" sz="2000" dirty="0"/>
                <a:t>Работают </a:t>
              </a:r>
              <a:br>
                <a:rPr lang="ru-RU" sz="2000" dirty="0"/>
              </a:br>
              <a:r>
                <a:rPr lang="ru-RU" sz="2000" dirty="0"/>
                <a:t>на госслужбе</a:t>
              </a:r>
            </a:p>
          </p:txBody>
        </p: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46F80EFB-81FB-4F7A-824C-92B499452E62}"/>
                </a:ext>
              </a:extLst>
            </p:cNvPr>
            <p:cNvGrpSpPr/>
            <p:nvPr/>
          </p:nvGrpSpPr>
          <p:grpSpPr>
            <a:xfrm>
              <a:off x="7200900" y="1346200"/>
              <a:ext cx="4051300" cy="622300"/>
              <a:chOff x="7658100" y="1346200"/>
              <a:chExt cx="4051300" cy="622300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1C9D6DD-EB91-48C3-A81A-A5F928A1335C}"/>
                  </a:ext>
                </a:extLst>
              </p:cNvPr>
              <p:cNvSpPr txBox="1"/>
              <p:nvPr/>
            </p:nvSpPr>
            <p:spPr>
              <a:xfrm>
                <a:off x="8358397" y="1434220"/>
                <a:ext cx="3351003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Aft>
                    <a:spcPts val="1200"/>
                  </a:spcAft>
                  <a:defRPr sz="18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SegoeUI"/>
                  </a:defRPr>
                </a:lvl1pPr>
              </a:lstStyle>
              <a:p>
                <a:r>
                  <a:rPr lang="ru-RU" sz="2400" b="1" dirty="0">
                    <a:solidFill>
                      <a:schemeClr val="bg1">
                        <a:lumMod val="85000"/>
                      </a:schemeClr>
                    </a:solidFill>
                    <a:latin typeface="Montserrat" panose="00000500000000000000" pitchFamily="2" charset="-52"/>
                  </a:rPr>
                  <a:t>ОПЫТ РАБОТЫ</a:t>
                </a:r>
              </a:p>
            </p:txBody>
          </p:sp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945CD28F-14E4-4298-9839-D3C7BDC733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658100" y="1346200"/>
                <a:ext cx="622300" cy="622300"/>
              </a:xfrm>
              <a:prstGeom prst="rect">
                <a:avLst/>
              </a:prstGeom>
            </p:spPr>
          </p:pic>
        </p:grpSp>
      </p:grpSp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341C3F3C-B7F1-421E-83F8-6E2FA47E6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34" y="314489"/>
            <a:ext cx="10505187" cy="590931"/>
          </a:xfrm>
        </p:spPr>
        <p:txBody>
          <a:bodyPr/>
          <a:lstStyle/>
          <a:p>
            <a:r>
              <a:rPr lang="ru-RU" sz="3600" dirty="0">
                <a:solidFill>
                  <a:srgbClr val="F79646"/>
                </a:solidFill>
                <a:latin typeface="+mj-lt"/>
              </a:rPr>
              <a:t>Реестр экспертов</a:t>
            </a:r>
            <a:endParaRPr lang="ru-RU" dirty="0"/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1E317A70-52A7-42B6-A2B6-6CD7EFC7033D}"/>
              </a:ext>
            </a:extLst>
          </p:cNvPr>
          <p:cNvGrpSpPr/>
          <p:nvPr/>
        </p:nvGrpSpPr>
        <p:grpSpPr>
          <a:xfrm>
            <a:off x="326051" y="5542769"/>
            <a:ext cx="4192103" cy="1107996"/>
            <a:chOff x="332328" y="3145745"/>
            <a:chExt cx="4192103" cy="1107996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66798D18-C86F-45E7-988F-D1AA4131F577}"/>
                </a:ext>
              </a:extLst>
            </p:cNvPr>
            <p:cNvSpPr txBox="1"/>
            <p:nvPr/>
          </p:nvSpPr>
          <p:spPr>
            <a:xfrm>
              <a:off x="332328" y="3145745"/>
              <a:ext cx="1798583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3600" b="1">
                  <a:solidFill>
                    <a:srgbClr val="F17E00"/>
                  </a:solidFill>
                  <a:latin typeface="Montserrat" panose="00000500000000000000" pitchFamily="2" charset="-52"/>
                </a:defRPr>
              </a:lvl1pPr>
            </a:lstStyle>
            <a:p>
              <a:r>
                <a:rPr lang="ru-RU" sz="6600" b="0" dirty="0">
                  <a:solidFill>
                    <a:srgbClr val="F79646"/>
                  </a:solidFill>
                  <a:latin typeface="+mj-lt"/>
                </a:rPr>
                <a:t>146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24C80F0-D41F-4303-A535-E39AE6D129C9}"/>
                </a:ext>
              </a:extLst>
            </p:cNvPr>
            <p:cNvSpPr txBox="1"/>
            <p:nvPr/>
          </p:nvSpPr>
          <p:spPr>
            <a:xfrm>
              <a:off x="1990522" y="3553423"/>
              <a:ext cx="253390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180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UI"/>
                </a:defRPr>
              </a:lvl1pPr>
            </a:lstStyle>
            <a:p>
              <a:r>
                <a:rPr lang="ru-RU" sz="3200" b="1" dirty="0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-52"/>
                </a:rPr>
                <a:t>эксперт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588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C359FD31-E17D-487D-943B-F61A9DF25FB4}"/>
              </a:ext>
            </a:extLst>
          </p:cNvPr>
          <p:cNvSpPr/>
          <p:nvPr/>
        </p:nvSpPr>
        <p:spPr>
          <a:xfrm>
            <a:off x="839823" y="787940"/>
            <a:ext cx="10541539" cy="5282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0A9E5D1-EAD0-4415-9719-97446A0865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125" y="2043113"/>
            <a:ext cx="2708165" cy="2427287"/>
          </a:xfrm>
          <a:prstGeom prst="rect">
            <a:avLst/>
          </a:prstGeom>
        </p:spPr>
      </p:pic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160896B4-2BFB-414F-BE32-0DD679E165DE}"/>
              </a:ext>
            </a:extLst>
          </p:cNvPr>
          <p:cNvCxnSpPr/>
          <p:nvPr/>
        </p:nvCxnSpPr>
        <p:spPr>
          <a:xfrm>
            <a:off x="4787900" y="3244056"/>
            <a:ext cx="1346200" cy="0"/>
          </a:xfrm>
          <a:prstGeom prst="straightConnector1">
            <a:avLst/>
          </a:prstGeom>
          <a:ln w="571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633A56FD-CDD2-4D3F-9428-1B21A96BC4A6}"/>
              </a:ext>
            </a:extLst>
          </p:cNvPr>
          <p:cNvGrpSpPr/>
          <p:nvPr/>
        </p:nvGrpSpPr>
        <p:grpSpPr>
          <a:xfrm>
            <a:off x="7061495" y="2305502"/>
            <a:ext cx="3210911" cy="2633739"/>
            <a:chOff x="7061495" y="2305502"/>
            <a:chExt cx="3210911" cy="2633739"/>
          </a:xfrm>
        </p:grpSpPr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id="{42D09939-7887-4D76-A639-0BFED1A4E4A2}"/>
                </a:ext>
              </a:extLst>
            </p:cNvPr>
            <p:cNvGrpSpPr/>
            <p:nvPr/>
          </p:nvGrpSpPr>
          <p:grpSpPr>
            <a:xfrm>
              <a:off x="7061495" y="2305502"/>
              <a:ext cx="3210911" cy="2083722"/>
              <a:chOff x="10852150" y="257175"/>
              <a:chExt cx="1048896" cy="680681"/>
            </a:xfrm>
          </p:grpSpPr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3239D3CE-558E-4667-811B-C932A6E953CF}"/>
                  </a:ext>
                </a:extLst>
              </p:cNvPr>
              <p:cNvSpPr/>
              <p:nvPr/>
            </p:nvSpPr>
            <p:spPr>
              <a:xfrm>
                <a:off x="11304588" y="257175"/>
                <a:ext cx="559594" cy="55959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40" name="Группа 39">
                <a:extLst>
                  <a:ext uri="{FF2B5EF4-FFF2-40B4-BE49-F238E27FC236}">
                    <a16:creationId xmlns:a16="http://schemas.microsoft.com/office/drawing/2014/main" id="{0935B718-1E3B-4568-9928-67554B20BF64}"/>
                  </a:ext>
                </a:extLst>
              </p:cNvPr>
              <p:cNvGrpSpPr/>
              <p:nvPr/>
            </p:nvGrpSpPr>
            <p:grpSpPr>
              <a:xfrm>
                <a:off x="10852150" y="261206"/>
                <a:ext cx="1048896" cy="676650"/>
                <a:chOff x="882522" y="2286002"/>
                <a:chExt cx="3248292" cy="2095500"/>
              </a:xfrm>
            </p:grpSpPr>
            <p:grpSp>
              <p:nvGrpSpPr>
                <p:cNvPr id="41" name="Группа 40">
                  <a:extLst>
                    <a:ext uri="{FF2B5EF4-FFF2-40B4-BE49-F238E27FC236}">
                      <a16:creationId xmlns:a16="http://schemas.microsoft.com/office/drawing/2014/main" id="{C91ABBD1-0B42-4976-9B81-3F046D3D7D40}"/>
                    </a:ext>
                  </a:extLst>
                </p:cNvPr>
                <p:cNvGrpSpPr/>
                <p:nvPr/>
              </p:nvGrpSpPr>
              <p:grpSpPr>
                <a:xfrm>
                  <a:off x="882522" y="2295845"/>
                  <a:ext cx="1943228" cy="1698879"/>
                  <a:chOff x="3695572" y="2715958"/>
                  <a:chExt cx="1943228" cy="1698879"/>
                </a:xfrm>
              </p:grpSpPr>
              <p:sp>
                <p:nvSpPr>
                  <p:cNvPr id="46" name="Прямоугольник 15">
                    <a:extLst>
                      <a:ext uri="{FF2B5EF4-FFF2-40B4-BE49-F238E27FC236}">
                        <a16:creationId xmlns:a16="http://schemas.microsoft.com/office/drawing/2014/main" id="{0013FB1E-D180-4CC0-9AC3-D3DB039DD4BC}"/>
                      </a:ext>
                    </a:extLst>
                  </p:cNvPr>
                  <p:cNvSpPr/>
                  <p:nvPr/>
                </p:nvSpPr>
                <p:spPr>
                  <a:xfrm flipV="1">
                    <a:off x="4213860" y="2715958"/>
                    <a:ext cx="1424940" cy="566752"/>
                  </a:xfrm>
                  <a:custGeom>
                    <a:avLst/>
                    <a:gdLst>
                      <a:gd name="connsiteX0" fmla="*/ 0 w 1424940"/>
                      <a:gd name="connsiteY0" fmla="*/ 0 h 566753"/>
                      <a:gd name="connsiteX1" fmla="*/ 1424940 w 1424940"/>
                      <a:gd name="connsiteY1" fmla="*/ 0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0 h 566753"/>
                      <a:gd name="connsiteX3" fmla="*/ 1424940 w 1424940"/>
                      <a:gd name="connsiteY3" fmla="*/ 566753 h 566753"/>
                      <a:gd name="connsiteX4" fmla="*/ 0 w 1424940"/>
                      <a:gd name="connsiteY4" fmla="*/ 566753 h 566753"/>
                      <a:gd name="connsiteX5" fmla="*/ 0 w 1424940"/>
                      <a:gd name="connsiteY5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56701"/>
                      <a:gd name="connsiteY0" fmla="*/ 0 h 566753"/>
                      <a:gd name="connsiteX1" fmla="*/ 910590 w 1456701"/>
                      <a:gd name="connsiteY1" fmla="*/ 16 h 566753"/>
                      <a:gd name="connsiteX2" fmla="*/ 1424940 w 1456701"/>
                      <a:gd name="connsiteY2" fmla="*/ 566753 h 566753"/>
                      <a:gd name="connsiteX3" fmla="*/ 0 w 1456701"/>
                      <a:gd name="connsiteY3" fmla="*/ 566753 h 566753"/>
                      <a:gd name="connsiteX4" fmla="*/ 0 w 1456701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4940" h="566753">
                        <a:moveTo>
                          <a:pt x="0" y="0"/>
                        </a:moveTo>
                        <a:lnTo>
                          <a:pt x="910590" y="16"/>
                        </a:lnTo>
                        <a:cubicBezTo>
                          <a:pt x="986155" y="327838"/>
                          <a:pt x="1157605" y="410384"/>
                          <a:pt x="1424940" y="566753"/>
                        </a:cubicBezTo>
                        <a:lnTo>
                          <a:pt x="0" y="56675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2E2E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47" name="Прямоугольник 46">
                    <a:extLst>
                      <a:ext uri="{FF2B5EF4-FFF2-40B4-BE49-F238E27FC236}">
                        <a16:creationId xmlns:a16="http://schemas.microsoft.com/office/drawing/2014/main" id="{D29A6F22-68C1-4012-84D1-CA365E8C1CA4}"/>
                      </a:ext>
                    </a:extLst>
                  </p:cNvPr>
                  <p:cNvSpPr/>
                  <p:nvPr/>
                </p:nvSpPr>
                <p:spPr>
                  <a:xfrm>
                    <a:off x="4044315" y="2715958"/>
                    <a:ext cx="756285" cy="566753"/>
                  </a:xfrm>
                  <a:prstGeom prst="rect">
                    <a:avLst/>
                  </a:prstGeom>
                  <a:solidFill>
                    <a:srgbClr val="CFCFC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48" name="Прямоугольник 47">
                    <a:extLst>
                      <a:ext uri="{FF2B5EF4-FFF2-40B4-BE49-F238E27FC236}">
                        <a16:creationId xmlns:a16="http://schemas.microsoft.com/office/drawing/2014/main" id="{4BBFB093-45F9-4CE7-AF3A-BABFF7D9D2F9}"/>
                      </a:ext>
                    </a:extLst>
                  </p:cNvPr>
                  <p:cNvSpPr/>
                  <p:nvPr/>
                </p:nvSpPr>
                <p:spPr>
                  <a:xfrm>
                    <a:off x="4451857" y="3282021"/>
                    <a:ext cx="644018" cy="566753"/>
                  </a:xfrm>
                  <a:prstGeom prst="rect">
                    <a:avLst/>
                  </a:prstGeom>
                  <a:solidFill>
                    <a:srgbClr val="EAEAE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49" name="Прямоугольник 15">
                    <a:extLst>
                      <a:ext uri="{FF2B5EF4-FFF2-40B4-BE49-F238E27FC236}">
                        <a16:creationId xmlns:a16="http://schemas.microsoft.com/office/drawing/2014/main" id="{42511D7E-7E82-4E86-8D1D-90E991F98582}"/>
                      </a:ext>
                    </a:extLst>
                  </p:cNvPr>
                  <p:cNvSpPr/>
                  <p:nvPr/>
                </p:nvSpPr>
                <p:spPr>
                  <a:xfrm>
                    <a:off x="4213860" y="3848084"/>
                    <a:ext cx="1424940" cy="566753"/>
                  </a:xfrm>
                  <a:custGeom>
                    <a:avLst/>
                    <a:gdLst>
                      <a:gd name="connsiteX0" fmla="*/ 0 w 1424940"/>
                      <a:gd name="connsiteY0" fmla="*/ 0 h 566753"/>
                      <a:gd name="connsiteX1" fmla="*/ 1424940 w 1424940"/>
                      <a:gd name="connsiteY1" fmla="*/ 0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0 h 566753"/>
                      <a:gd name="connsiteX3" fmla="*/ 1424940 w 1424940"/>
                      <a:gd name="connsiteY3" fmla="*/ 566753 h 566753"/>
                      <a:gd name="connsiteX4" fmla="*/ 0 w 1424940"/>
                      <a:gd name="connsiteY4" fmla="*/ 566753 h 566753"/>
                      <a:gd name="connsiteX5" fmla="*/ 0 w 1424940"/>
                      <a:gd name="connsiteY5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56701"/>
                      <a:gd name="connsiteY0" fmla="*/ 0 h 566753"/>
                      <a:gd name="connsiteX1" fmla="*/ 910590 w 1456701"/>
                      <a:gd name="connsiteY1" fmla="*/ 16 h 566753"/>
                      <a:gd name="connsiteX2" fmla="*/ 1424940 w 1456701"/>
                      <a:gd name="connsiteY2" fmla="*/ 566753 h 566753"/>
                      <a:gd name="connsiteX3" fmla="*/ 0 w 1456701"/>
                      <a:gd name="connsiteY3" fmla="*/ 566753 h 566753"/>
                      <a:gd name="connsiteX4" fmla="*/ 0 w 1456701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4940" h="566753">
                        <a:moveTo>
                          <a:pt x="0" y="0"/>
                        </a:moveTo>
                        <a:lnTo>
                          <a:pt x="910590" y="16"/>
                        </a:lnTo>
                        <a:cubicBezTo>
                          <a:pt x="986155" y="327838"/>
                          <a:pt x="1157605" y="410384"/>
                          <a:pt x="1424940" y="566753"/>
                        </a:cubicBezTo>
                        <a:lnTo>
                          <a:pt x="0" y="56675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A1A1A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50" name="Прямоугольник 49">
                    <a:extLst>
                      <a:ext uri="{FF2B5EF4-FFF2-40B4-BE49-F238E27FC236}">
                        <a16:creationId xmlns:a16="http://schemas.microsoft.com/office/drawing/2014/main" id="{6A8EC690-CFF5-49A2-ADF0-834056CFDA3E}"/>
                      </a:ext>
                    </a:extLst>
                  </p:cNvPr>
                  <p:cNvSpPr/>
                  <p:nvPr/>
                </p:nvSpPr>
                <p:spPr>
                  <a:xfrm>
                    <a:off x="3695572" y="3282021"/>
                    <a:ext cx="756285" cy="566753"/>
                  </a:xfrm>
                  <a:prstGeom prst="rect">
                    <a:avLst/>
                  </a:prstGeom>
                  <a:solidFill>
                    <a:srgbClr val="A1A1A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51" name="Прямоугольник 50">
                    <a:extLst>
                      <a:ext uri="{FF2B5EF4-FFF2-40B4-BE49-F238E27FC236}">
                        <a16:creationId xmlns:a16="http://schemas.microsoft.com/office/drawing/2014/main" id="{72FBFFBB-8A64-4233-B453-99ACF0D917F2}"/>
                      </a:ext>
                    </a:extLst>
                  </p:cNvPr>
                  <p:cNvSpPr/>
                  <p:nvPr/>
                </p:nvSpPr>
                <p:spPr>
                  <a:xfrm>
                    <a:off x="4044315" y="3848084"/>
                    <a:ext cx="756285" cy="566753"/>
                  </a:xfrm>
                  <a:prstGeom prst="rect">
                    <a:avLst/>
                  </a:prstGeom>
                  <a:solidFill>
                    <a:srgbClr val="E2E2E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  <p:grpSp>
              <p:nvGrpSpPr>
                <p:cNvPr id="42" name="Группа 41">
                  <a:extLst>
                    <a:ext uri="{FF2B5EF4-FFF2-40B4-BE49-F238E27FC236}">
                      <a16:creationId xmlns:a16="http://schemas.microsoft.com/office/drawing/2014/main" id="{2D7E8278-D5E0-49AC-879B-C3B76407C750}"/>
                    </a:ext>
                  </a:extLst>
                </p:cNvPr>
                <p:cNvGrpSpPr/>
                <p:nvPr/>
              </p:nvGrpSpPr>
              <p:grpSpPr>
                <a:xfrm>
                  <a:off x="2613025" y="2916807"/>
                  <a:ext cx="1006477" cy="460131"/>
                  <a:chOff x="2794000" y="2906065"/>
                  <a:chExt cx="1039814" cy="475373"/>
                </a:xfrm>
                <a:solidFill>
                  <a:srgbClr val="F17E00"/>
                </a:solidFill>
              </p:grpSpPr>
              <p:sp>
                <p:nvSpPr>
                  <p:cNvPr id="44" name="Прямоугольник 43">
                    <a:extLst>
                      <a:ext uri="{FF2B5EF4-FFF2-40B4-BE49-F238E27FC236}">
                        <a16:creationId xmlns:a16="http://schemas.microsoft.com/office/drawing/2014/main" id="{91DFABA6-FFC5-4226-A60F-108B8E577CD6}"/>
                      </a:ext>
                    </a:extLst>
                  </p:cNvPr>
                  <p:cNvSpPr/>
                  <p:nvPr/>
                </p:nvSpPr>
                <p:spPr>
                  <a:xfrm>
                    <a:off x="2794000" y="2906065"/>
                    <a:ext cx="704850" cy="160735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45" name="Прямоугольник 44">
                    <a:extLst>
                      <a:ext uri="{FF2B5EF4-FFF2-40B4-BE49-F238E27FC236}">
                        <a16:creationId xmlns:a16="http://schemas.microsoft.com/office/drawing/2014/main" id="{05495C54-8E29-4966-94FD-29FDC254AA34}"/>
                      </a:ext>
                    </a:extLst>
                  </p:cNvPr>
                  <p:cNvSpPr/>
                  <p:nvPr/>
                </p:nvSpPr>
                <p:spPr>
                  <a:xfrm>
                    <a:off x="2794001" y="3220702"/>
                    <a:ext cx="1039813" cy="1607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  <p:graphicFrame>
              <p:nvGraphicFramePr>
                <p:cNvPr id="43" name="Объект 42">
                  <a:extLst>
                    <a:ext uri="{FF2B5EF4-FFF2-40B4-BE49-F238E27FC236}">
                      <a16:creationId xmlns:a16="http://schemas.microsoft.com/office/drawing/2014/main" id="{9FD99CF7-0653-4841-A65C-24F78514D080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00250237"/>
                    </p:ext>
                  </p:extLst>
                </p:nvPr>
              </p:nvGraphicFramePr>
              <p:xfrm>
                <a:off x="2176346" y="2286002"/>
                <a:ext cx="1954468" cy="209550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name="CorelDRAW" r:id="rId3" imgW="2485800" imgH="2665268" progId="CorelDraw.Graphic.21">
                        <p:embed/>
                      </p:oleObj>
                    </mc:Choice>
                    <mc:Fallback>
                      <p:oleObj name="CorelDRAW" r:id="rId3" imgW="2485800" imgH="2665268" progId="CorelDraw.Graphic.21">
                        <p:embed/>
                        <p:pic>
                          <p:nvPicPr>
                            <p:cNvPr id="41" name="Объект 40">
                              <a:extLst>
                                <a:ext uri="{FF2B5EF4-FFF2-40B4-BE49-F238E27FC236}">
                                  <a16:creationId xmlns:a16="http://schemas.microsoft.com/office/drawing/2014/main" id="{5A8DCEEB-50C1-47E2-B3BB-0E81228F7812}"/>
                                </a:ext>
                              </a:extLst>
                            </p:cNvPr>
                            <p:cNvPicPr/>
                            <p:nvPr/>
                          </p:nvPicPr>
                          <p:blipFill>
                            <a:blip r:embed="rId4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2176346" y="2286002"/>
                              <a:ext cx="1954468" cy="2095500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43EAD707-E5B6-4349-A1AE-7D47C04E53F7}"/>
                </a:ext>
              </a:extLst>
            </p:cNvPr>
            <p:cNvSpPr txBox="1"/>
            <p:nvPr/>
          </p:nvSpPr>
          <p:spPr>
            <a:xfrm>
              <a:off x="7323211" y="4108244"/>
              <a:ext cx="2861649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180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UI"/>
                </a:defRPr>
              </a:lvl1pPr>
            </a:lstStyle>
            <a:p>
              <a: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  <a:t>НИИ ГОСУДАРСТВА </a:t>
              </a:r>
              <a:b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</a:br>
              <a: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  <a:t>И ПРАВА ИМЕНИ </a:t>
              </a:r>
              <a:b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</a:br>
              <a: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  <a:t>Г. САПАРГАЛИЕВ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74758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C76BE63-757D-4F21-AB0F-F7C57137DBC4}"/>
              </a:ext>
            </a:extLst>
          </p:cNvPr>
          <p:cNvSpPr/>
          <p:nvPr/>
        </p:nvSpPr>
        <p:spPr>
          <a:xfrm>
            <a:off x="389107" y="1495899"/>
            <a:ext cx="4396902" cy="40077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9454BA59-18EA-4A82-928E-ABDAED840BEC}"/>
              </a:ext>
            </a:extLst>
          </p:cNvPr>
          <p:cNvGrpSpPr/>
          <p:nvPr/>
        </p:nvGrpSpPr>
        <p:grpSpPr>
          <a:xfrm>
            <a:off x="862614" y="2245045"/>
            <a:ext cx="3210911" cy="2633739"/>
            <a:chOff x="7061495" y="2305502"/>
            <a:chExt cx="3210911" cy="2633739"/>
          </a:xfrm>
        </p:grpSpPr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id="{24134B2C-B86F-4797-9FFF-317A6D549233}"/>
                </a:ext>
              </a:extLst>
            </p:cNvPr>
            <p:cNvGrpSpPr/>
            <p:nvPr/>
          </p:nvGrpSpPr>
          <p:grpSpPr>
            <a:xfrm>
              <a:off x="7061495" y="2305502"/>
              <a:ext cx="3210911" cy="2083722"/>
              <a:chOff x="10852150" y="257175"/>
              <a:chExt cx="1048896" cy="680681"/>
            </a:xfrm>
          </p:grpSpPr>
          <p:sp>
            <p:nvSpPr>
              <p:cNvPr id="61" name="Овал 60">
                <a:extLst>
                  <a:ext uri="{FF2B5EF4-FFF2-40B4-BE49-F238E27FC236}">
                    <a16:creationId xmlns:a16="http://schemas.microsoft.com/office/drawing/2014/main" id="{32746875-8E75-4F91-B9B6-D2D444414DD0}"/>
                  </a:ext>
                </a:extLst>
              </p:cNvPr>
              <p:cNvSpPr/>
              <p:nvPr/>
            </p:nvSpPr>
            <p:spPr>
              <a:xfrm>
                <a:off x="11304588" y="257175"/>
                <a:ext cx="559594" cy="55959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2" name="Группа 61">
                <a:extLst>
                  <a:ext uri="{FF2B5EF4-FFF2-40B4-BE49-F238E27FC236}">
                    <a16:creationId xmlns:a16="http://schemas.microsoft.com/office/drawing/2014/main" id="{6DC9964F-ECE8-4637-A53C-664F37B5C266}"/>
                  </a:ext>
                </a:extLst>
              </p:cNvPr>
              <p:cNvGrpSpPr/>
              <p:nvPr/>
            </p:nvGrpSpPr>
            <p:grpSpPr>
              <a:xfrm>
                <a:off x="10852150" y="261206"/>
                <a:ext cx="1048896" cy="676650"/>
                <a:chOff x="882522" y="2286002"/>
                <a:chExt cx="3248292" cy="2095500"/>
              </a:xfrm>
            </p:grpSpPr>
            <p:grpSp>
              <p:nvGrpSpPr>
                <p:cNvPr id="63" name="Группа 62">
                  <a:extLst>
                    <a:ext uri="{FF2B5EF4-FFF2-40B4-BE49-F238E27FC236}">
                      <a16:creationId xmlns:a16="http://schemas.microsoft.com/office/drawing/2014/main" id="{A3D3E2D8-BFC3-41E2-BD04-300B731D338D}"/>
                    </a:ext>
                  </a:extLst>
                </p:cNvPr>
                <p:cNvGrpSpPr/>
                <p:nvPr/>
              </p:nvGrpSpPr>
              <p:grpSpPr>
                <a:xfrm>
                  <a:off x="882522" y="2295845"/>
                  <a:ext cx="1943228" cy="1698879"/>
                  <a:chOff x="3695572" y="2715958"/>
                  <a:chExt cx="1943228" cy="1698879"/>
                </a:xfrm>
              </p:grpSpPr>
              <p:sp>
                <p:nvSpPr>
                  <p:cNvPr id="68" name="Прямоугольник 15">
                    <a:extLst>
                      <a:ext uri="{FF2B5EF4-FFF2-40B4-BE49-F238E27FC236}">
                        <a16:creationId xmlns:a16="http://schemas.microsoft.com/office/drawing/2014/main" id="{92F76E89-7B13-46ED-9DEC-5F4205078167}"/>
                      </a:ext>
                    </a:extLst>
                  </p:cNvPr>
                  <p:cNvSpPr/>
                  <p:nvPr/>
                </p:nvSpPr>
                <p:spPr>
                  <a:xfrm flipV="1">
                    <a:off x="4213860" y="2715958"/>
                    <a:ext cx="1424940" cy="566752"/>
                  </a:xfrm>
                  <a:custGeom>
                    <a:avLst/>
                    <a:gdLst>
                      <a:gd name="connsiteX0" fmla="*/ 0 w 1424940"/>
                      <a:gd name="connsiteY0" fmla="*/ 0 h 566753"/>
                      <a:gd name="connsiteX1" fmla="*/ 1424940 w 1424940"/>
                      <a:gd name="connsiteY1" fmla="*/ 0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0 h 566753"/>
                      <a:gd name="connsiteX3" fmla="*/ 1424940 w 1424940"/>
                      <a:gd name="connsiteY3" fmla="*/ 566753 h 566753"/>
                      <a:gd name="connsiteX4" fmla="*/ 0 w 1424940"/>
                      <a:gd name="connsiteY4" fmla="*/ 566753 h 566753"/>
                      <a:gd name="connsiteX5" fmla="*/ 0 w 1424940"/>
                      <a:gd name="connsiteY5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56701"/>
                      <a:gd name="connsiteY0" fmla="*/ 0 h 566753"/>
                      <a:gd name="connsiteX1" fmla="*/ 910590 w 1456701"/>
                      <a:gd name="connsiteY1" fmla="*/ 16 h 566753"/>
                      <a:gd name="connsiteX2" fmla="*/ 1424940 w 1456701"/>
                      <a:gd name="connsiteY2" fmla="*/ 566753 h 566753"/>
                      <a:gd name="connsiteX3" fmla="*/ 0 w 1456701"/>
                      <a:gd name="connsiteY3" fmla="*/ 566753 h 566753"/>
                      <a:gd name="connsiteX4" fmla="*/ 0 w 1456701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4940" h="566753">
                        <a:moveTo>
                          <a:pt x="0" y="0"/>
                        </a:moveTo>
                        <a:lnTo>
                          <a:pt x="910590" y="16"/>
                        </a:lnTo>
                        <a:cubicBezTo>
                          <a:pt x="986155" y="327838"/>
                          <a:pt x="1157605" y="410384"/>
                          <a:pt x="1424940" y="566753"/>
                        </a:cubicBezTo>
                        <a:lnTo>
                          <a:pt x="0" y="56675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2E2E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69" name="Прямоугольник 68">
                    <a:extLst>
                      <a:ext uri="{FF2B5EF4-FFF2-40B4-BE49-F238E27FC236}">
                        <a16:creationId xmlns:a16="http://schemas.microsoft.com/office/drawing/2014/main" id="{6D75B9FF-6496-40D0-B13F-0D6443990DA0}"/>
                      </a:ext>
                    </a:extLst>
                  </p:cNvPr>
                  <p:cNvSpPr/>
                  <p:nvPr/>
                </p:nvSpPr>
                <p:spPr>
                  <a:xfrm>
                    <a:off x="4044315" y="2715958"/>
                    <a:ext cx="756285" cy="566753"/>
                  </a:xfrm>
                  <a:prstGeom prst="rect">
                    <a:avLst/>
                  </a:prstGeom>
                  <a:solidFill>
                    <a:srgbClr val="CFCFC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70" name="Прямоугольник 69">
                    <a:extLst>
                      <a:ext uri="{FF2B5EF4-FFF2-40B4-BE49-F238E27FC236}">
                        <a16:creationId xmlns:a16="http://schemas.microsoft.com/office/drawing/2014/main" id="{A7D9E8CC-583F-4FBD-BA27-EE562858C0EF}"/>
                      </a:ext>
                    </a:extLst>
                  </p:cNvPr>
                  <p:cNvSpPr/>
                  <p:nvPr/>
                </p:nvSpPr>
                <p:spPr>
                  <a:xfrm>
                    <a:off x="4451857" y="3282021"/>
                    <a:ext cx="644018" cy="566753"/>
                  </a:xfrm>
                  <a:prstGeom prst="rect">
                    <a:avLst/>
                  </a:prstGeom>
                  <a:solidFill>
                    <a:srgbClr val="EAEAE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71" name="Прямоугольник 15">
                    <a:extLst>
                      <a:ext uri="{FF2B5EF4-FFF2-40B4-BE49-F238E27FC236}">
                        <a16:creationId xmlns:a16="http://schemas.microsoft.com/office/drawing/2014/main" id="{DC3341BA-906D-4C47-ACBE-F297120BF308}"/>
                      </a:ext>
                    </a:extLst>
                  </p:cNvPr>
                  <p:cNvSpPr/>
                  <p:nvPr/>
                </p:nvSpPr>
                <p:spPr>
                  <a:xfrm>
                    <a:off x="4213860" y="3848084"/>
                    <a:ext cx="1424940" cy="566753"/>
                  </a:xfrm>
                  <a:custGeom>
                    <a:avLst/>
                    <a:gdLst>
                      <a:gd name="connsiteX0" fmla="*/ 0 w 1424940"/>
                      <a:gd name="connsiteY0" fmla="*/ 0 h 566753"/>
                      <a:gd name="connsiteX1" fmla="*/ 1424940 w 1424940"/>
                      <a:gd name="connsiteY1" fmla="*/ 0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0 h 566753"/>
                      <a:gd name="connsiteX3" fmla="*/ 1424940 w 1424940"/>
                      <a:gd name="connsiteY3" fmla="*/ 566753 h 566753"/>
                      <a:gd name="connsiteX4" fmla="*/ 0 w 1424940"/>
                      <a:gd name="connsiteY4" fmla="*/ 566753 h 566753"/>
                      <a:gd name="connsiteX5" fmla="*/ 0 w 1424940"/>
                      <a:gd name="connsiteY5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56701"/>
                      <a:gd name="connsiteY0" fmla="*/ 0 h 566753"/>
                      <a:gd name="connsiteX1" fmla="*/ 910590 w 1456701"/>
                      <a:gd name="connsiteY1" fmla="*/ 16 h 566753"/>
                      <a:gd name="connsiteX2" fmla="*/ 1424940 w 1456701"/>
                      <a:gd name="connsiteY2" fmla="*/ 566753 h 566753"/>
                      <a:gd name="connsiteX3" fmla="*/ 0 w 1456701"/>
                      <a:gd name="connsiteY3" fmla="*/ 566753 h 566753"/>
                      <a:gd name="connsiteX4" fmla="*/ 0 w 1456701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  <a:gd name="connsiteX0" fmla="*/ 0 w 1424940"/>
                      <a:gd name="connsiteY0" fmla="*/ 0 h 566753"/>
                      <a:gd name="connsiteX1" fmla="*/ 910590 w 1424940"/>
                      <a:gd name="connsiteY1" fmla="*/ 16 h 566753"/>
                      <a:gd name="connsiteX2" fmla="*/ 1424940 w 1424940"/>
                      <a:gd name="connsiteY2" fmla="*/ 566753 h 566753"/>
                      <a:gd name="connsiteX3" fmla="*/ 0 w 1424940"/>
                      <a:gd name="connsiteY3" fmla="*/ 566753 h 566753"/>
                      <a:gd name="connsiteX4" fmla="*/ 0 w 1424940"/>
                      <a:gd name="connsiteY4" fmla="*/ 0 h 5667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4940" h="566753">
                        <a:moveTo>
                          <a:pt x="0" y="0"/>
                        </a:moveTo>
                        <a:lnTo>
                          <a:pt x="910590" y="16"/>
                        </a:lnTo>
                        <a:cubicBezTo>
                          <a:pt x="986155" y="327838"/>
                          <a:pt x="1157605" y="410384"/>
                          <a:pt x="1424940" y="566753"/>
                        </a:cubicBezTo>
                        <a:lnTo>
                          <a:pt x="0" y="56675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A1A1A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72" name="Прямоугольник 71">
                    <a:extLst>
                      <a:ext uri="{FF2B5EF4-FFF2-40B4-BE49-F238E27FC236}">
                        <a16:creationId xmlns:a16="http://schemas.microsoft.com/office/drawing/2014/main" id="{AAEF1389-FF47-4F54-B1C4-FAC10AFEB0FC}"/>
                      </a:ext>
                    </a:extLst>
                  </p:cNvPr>
                  <p:cNvSpPr/>
                  <p:nvPr/>
                </p:nvSpPr>
                <p:spPr>
                  <a:xfrm>
                    <a:off x="3695572" y="3282021"/>
                    <a:ext cx="756285" cy="566753"/>
                  </a:xfrm>
                  <a:prstGeom prst="rect">
                    <a:avLst/>
                  </a:prstGeom>
                  <a:solidFill>
                    <a:srgbClr val="A1A1A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73" name="Прямоугольник 72">
                    <a:extLst>
                      <a:ext uri="{FF2B5EF4-FFF2-40B4-BE49-F238E27FC236}">
                        <a16:creationId xmlns:a16="http://schemas.microsoft.com/office/drawing/2014/main" id="{622AF99B-28AF-4A1D-9C20-CA1E1D8D80F0}"/>
                      </a:ext>
                    </a:extLst>
                  </p:cNvPr>
                  <p:cNvSpPr/>
                  <p:nvPr/>
                </p:nvSpPr>
                <p:spPr>
                  <a:xfrm>
                    <a:off x="4044315" y="3848084"/>
                    <a:ext cx="756285" cy="566753"/>
                  </a:xfrm>
                  <a:prstGeom prst="rect">
                    <a:avLst/>
                  </a:prstGeom>
                  <a:solidFill>
                    <a:srgbClr val="E2E2E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  <p:grpSp>
              <p:nvGrpSpPr>
                <p:cNvPr id="64" name="Группа 63">
                  <a:extLst>
                    <a:ext uri="{FF2B5EF4-FFF2-40B4-BE49-F238E27FC236}">
                      <a16:creationId xmlns:a16="http://schemas.microsoft.com/office/drawing/2014/main" id="{0C6DD8FD-8690-44FF-AC78-6239F0EDC843}"/>
                    </a:ext>
                  </a:extLst>
                </p:cNvPr>
                <p:cNvGrpSpPr/>
                <p:nvPr/>
              </p:nvGrpSpPr>
              <p:grpSpPr>
                <a:xfrm>
                  <a:off x="2613025" y="2916807"/>
                  <a:ext cx="1006477" cy="460131"/>
                  <a:chOff x="2794000" y="2906065"/>
                  <a:chExt cx="1039814" cy="475373"/>
                </a:xfrm>
                <a:solidFill>
                  <a:srgbClr val="F17E00"/>
                </a:solidFill>
              </p:grpSpPr>
              <p:sp>
                <p:nvSpPr>
                  <p:cNvPr id="66" name="Прямоугольник 65">
                    <a:extLst>
                      <a:ext uri="{FF2B5EF4-FFF2-40B4-BE49-F238E27FC236}">
                        <a16:creationId xmlns:a16="http://schemas.microsoft.com/office/drawing/2014/main" id="{0E6F0C89-DC15-46FA-BE3D-CDFA934E3BB7}"/>
                      </a:ext>
                    </a:extLst>
                  </p:cNvPr>
                  <p:cNvSpPr/>
                  <p:nvPr/>
                </p:nvSpPr>
                <p:spPr>
                  <a:xfrm>
                    <a:off x="2794000" y="2906065"/>
                    <a:ext cx="704850" cy="160735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67" name="Прямоугольник 66">
                    <a:extLst>
                      <a:ext uri="{FF2B5EF4-FFF2-40B4-BE49-F238E27FC236}">
                        <a16:creationId xmlns:a16="http://schemas.microsoft.com/office/drawing/2014/main" id="{192C36DD-8731-4346-81E8-17F76561707B}"/>
                      </a:ext>
                    </a:extLst>
                  </p:cNvPr>
                  <p:cNvSpPr/>
                  <p:nvPr/>
                </p:nvSpPr>
                <p:spPr>
                  <a:xfrm>
                    <a:off x="2794001" y="3220702"/>
                    <a:ext cx="1039813" cy="1607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  <p:graphicFrame>
              <p:nvGraphicFramePr>
                <p:cNvPr id="65" name="Объект 64">
                  <a:extLst>
                    <a:ext uri="{FF2B5EF4-FFF2-40B4-BE49-F238E27FC236}">
                      <a16:creationId xmlns:a16="http://schemas.microsoft.com/office/drawing/2014/main" id="{C887118B-FA6B-4F4F-800D-1A16C15F8287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481101830"/>
                    </p:ext>
                  </p:extLst>
                </p:nvPr>
              </p:nvGraphicFramePr>
              <p:xfrm>
                <a:off x="2176346" y="2286002"/>
                <a:ext cx="1954468" cy="209550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name="CorelDRAW" r:id="rId2" imgW="2485800" imgH="2665268" progId="CorelDraw.Graphic.21">
                        <p:embed/>
                      </p:oleObj>
                    </mc:Choice>
                    <mc:Fallback>
                      <p:oleObj name="CorelDRAW" r:id="rId2" imgW="2485800" imgH="2665268" progId="CorelDraw.Graphic.21">
                        <p:embed/>
                        <p:pic>
                          <p:nvPicPr>
                            <p:cNvPr id="49" name="Объект 48">
                              <a:extLst>
                                <a:ext uri="{FF2B5EF4-FFF2-40B4-BE49-F238E27FC236}">
                                  <a16:creationId xmlns:a16="http://schemas.microsoft.com/office/drawing/2014/main" id="{28FEC363-B9FA-4D16-B84E-874F87AA2AB2}"/>
                                </a:ext>
                              </a:extLst>
                            </p:cNvPr>
                            <p:cNvPicPr/>
                            <p:nvPr/>
                          </p:nvPicPr>
                          <p:blipFill>
                            <a:blip r:embed="rId3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2176346" y="2286002"/>
                              <a:ext cx="1954468" cy="2095500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C888910-BCC6-47A8-87BA-4F544AE3E5BA}"/>
                </a:ext>
              </a:extLst>
            </p:cNvPr>
            <p:cNvSpPr txBox="1"/>
            <p:nvPr/>
          </p:nvSpPr>
          <p:spPr>
            <a:xfrm>
              <a:off x="7323211" y="4108244"/>
              <a:ext cx="2861649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Aft>
                  <a:spcPts val="1200"/>
                </a:spcAft>
                <a:defRPr sz="180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UI"/>
                </a:defRPr>
              </a:lvl1pPr>
            </a:lstStyle>
            <a:p>
              <a: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  <a:t>НИИ ГОСУДАРСТВА </a:t>
              </a:r>
              <a:b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</a:br>
              <a: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  <a:t>И ПРАВА ИМЕНИ </a:t>
              </a:r>
              <a:b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</a:br>
              <a:r>
                <a:rPr lang="ru-RU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Montserrat ExtraBold" panose="00000900000000000000" pitchFamily="2" charset="-52"/>
                </a:rPr>
                <a:t>Г. САПАРГАЛИЕВА</a:t>
              </a:r>
            </a:p>
          </p:txBody>
        </p: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31DB36C-5325-45E3-9A7C-EBAEC45628C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87175" y="6600825"/>
            <a:ext cx="504825" cy="233363"/>
          </a:xfrm>
          <a:prstGeom prst="rect">
            <a:avLst/>
          </a:prstGeom>
        </p:spPr>
        <p:txBody>
          <a:bodyPr/>
          <a:lstStyle/>
          <a:p>
            <a:fld id="{7809FEE8-7464-4FDB-9A57-88CDFAF57E02}" type="slidenum">
              <a:rPr lang="ru-RU" smtClean="0"/>
              <a:t>5</a:t>
            </a:fld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06781DA-9C42-4300-B1E8-A1D9E8E9D6F4}"/>
              </a:ext>
            </a:extLst>
          </p:cNvPr>
          <p:cNvSpPr txBox="1"/>
          <p:nvPr/>
        </p:nvSpPr>
        <p:spPr>
          <a:xfrm>
            <a:off x="5435600" y="1008472"/>
            <a:ext cx="6493164" cy="5047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700" b="1" i="0" dirty="0">
                <a:solidFill>
                  <a:schemeClr val="bg1">
                    <a:lumMod val="85000"/>
                  </a:schemeClr>
                </a:solidFill>
                <a:effectLst/>
              </a:rPr>
              <a:t>Новый логотип НИИ выражает суть организации - экспертизу документов: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ru-RU" sz="1700" dirty="0">
                <a:solidFill>
                  <a:schemeClr val="bg1">
                    <a:lumMod val="85000"/>
                  </a:schemeClr>
                </a:solidFill>
              </a:rPr>
              <a:t>Прямоугольные объекты в левой части логотипа символизируют входящие на проверку (слева-направо) документы 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ru-RU" sz="1700" b="0" i="0" dirty="0">
                <a:solidFill>
                  <a:schemeClr val="bg1">
                    <a:lumMod val="85000"/>
                  </a:schemeClr>
                </a:solidFill>
                <a:effectLst/>
              </a:rPr>
              <a:t>Оранжевый объ</a:t>
            </a:r>
            <a:r>
              <a:rPr lang="ru-RU" sz="1700" dirty="0">
                <a:solidFill>
                  <a:schemeClr val="bg1">
                    <a:lumMod val="85000"/>
                  </a:schemeClr>
                </a:solidFill>
              </a:rPr>
              <a:t>ект справа обозначает лупу, этот образ хорошо знаком аудитории, именно иконкой лупы принято обозначать анализ или поиск данных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ru-RU" sz="1700" b="0" i="0" dirty="0">
                <a:solidFill>
                  <a:schemeClr val="bg1">
                    <a:lumMod val="85000"/>
                  </a:schemeClr>
                </a:solidFill>
                <a:effectLst/>
              </a:rPr>
              <a:t>Дв</a:t>
            </a:r>
            <a:r>
              <a:rPr lang="ru-RU" sz="1700" dirty="0">
                <a:solidFill>
                  <a:schemeClr val="bg1">
                    <a:lumMod val="85000"/>
                  </a:schemeClr>
                </a:solidFill>
              </a:rPr>
              <a:t>е оранжевые полосы внутри лупы означают анализируемые данные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ru-RU" sz="1700" b="0" i="0" dirty="0">
                <a:solidFill>
                  <a:schemeClr val="bg1">
                    <a:lumMod val="85000"/>
                  </a:schemeClr>
                </a:solidFill>
                <a:effectLst/>
              </a:rPr>
              <a:t>Пространство сверху и снизу лупы символизирует открытость экспертизы данных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ru-RU" sz="1700" dirty="0">
                <a:solidFill>
                  <a:schemeClr val="bg1">
                    <a:lumMod val="85000"/>
                  </a:schemeClr>
                </a:solidFill>
              </a:rPr>
              <a:t>Оранжевый цвет – цвет активности, сильный и эмоциональный цвет, подходит для деятельности организации – выявлять ошибки и вносить поправки</a:t>
            </a:r>
          </a:p>
        </p:txBody>
      </p: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B5E70258-A46F-43B6-8C5D-FE854C93F43F}"/>
              </a:ext>
            </a:extLst>
          </p:cNvPr>
          <p:cNvCxnSpPr/>
          <p:nvPr/>
        </p:nvCxnSpPr>
        <p:spPr>
          <a:xfrm flipH="1">
            <a:off x="2336800" y="1841500"/>
            <a:ext cx="3098800" cy="34290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46C82DE4-5242-4640-BBAA-EED233B74020}"/>
              </a:ext>
            </a:extLst>
          </p:cNvPr>
          <p:cNvCxnSpPr>
            <a:cxnSpLocks/>
          </p:cNvCxnSpPr>
          <p:nvPr/>
        </p:nvCxnSpPr>
        <p:spPr>
          <a:xfrm flipH="1">
            <a:off x="4229100" y="2819400"/>
            <a:ext cx="1206500" cy="10160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8798844A-37EF-4B54-B286-7E505A9FB661}"/>
              </a:ext>
            </a:extLst>
          </p:cNvPr>
          <p:cNvCxnSpPr>
            <a:cxnSpLocks/>
          </p:cNvCxnSpPr>
          <p:nvPr/>
        </p:nvCxnSpPr>
        <p:spPr>
          <a:xfrm flipH="1" flipV="1">
            <a:off x="3708400" y="3162300"/>
            <a:ext cx="1727200" cy="54610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2C57D49A-653B-48B0-B980-F23C514C181D}"/>
              </a:ext>
            </a:extLst>
          </p:cNvPr>
          <p:cNvCxnSpPr>
            <a:cxnSpLocks/>
          </p:cNvCxnSpPr>
          <p:nvPr/>
        </p:nvCxnSpPr>
        <p:spPr>
          <a:xfrm flipH="1" flipV="1">
            <a:off x="3136900" y="3975100"/>
            <a:ext cx="2298700" cy="35560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B3E711F4-3ACD-49BC-9FFC-850AFC6F98ED}"/>
              </a:ext>
            </a:extLst>
          </p:cNvPr>
          <p:cNvCxnSpPr>
            <a:cxnSpLocks/>
          </p:cNvCxnSpPr>
          <p:nvPr/>
        </p:nvCxnSpPr>
        <p:spPr>
          <a:xfrm flipH="1" flipV="1">
            <a:off x="3136900" y="2286000"/>
            <a:ext cx="2298700" cy="2055508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2643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Center for Strategic Initiatives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Другая 10">
      <a:majorFont>
        <a:latin typeface="Montserrat ExtraBold"/>
        <a:ea typeface=""/>
        <a:cs typeface=""/>
      </a:majorFont>
      <a:minorFont>
        <a:latin typeface="Montserrat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  <a:prstDash val="solid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Center for Strategic Initiatives" id="{C4F60A2C-98AD-4D6B-A552-CCD2C314E1DD}" vid="{C26DF4C8-7031-4B89-83DB-B7FBFBBC03A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 Center for Strategic Initiatives</Template>
  <TotalTime>17861</TotalTime>
  <Words>237</Words>
  <Application>Microsoft Office PowerPoint</Application>
  <PresentationFormat>Широкоэкранный</PresentationFormat>
  <Paragraphs>78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Calibri</vt:lpstr>
      <vt:lpstr>Montserrat</vt:lpstr>
      <vt:lpstr>Montserrat ExtraBold</vt:lpstr>
      <vt:lpstr>Segoe UI</vt:lpstr>
      <vt:lpstr>theme Center for Strategic Initiatives</vt:lpstr>
      <vt:lpstr>think-cell Slide</vt:lpstr>
      <vt:lpstr>CorelDRAW</vt:lpstr>
      <vt:lpstr>Реестр экспертов</vt:lpstr>
      <vt:lpstr>Реестр экспертов</vt:lpstr>
      <vt:lpstr>Реестр экспертов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z Kairat</dc:creator>
  <cp:lastModifiedBy>Kz Kairat</cp:lastModifiedBy>
  <cp:revision>321</cp:revision>
  <dcterms:created xsi:type="dcterms:W3CDTF">2021-03-30T22:31:13Z</dcterms:created>
  <dcterms:modified xsi:type="dcterms:W3CDTF">2021-04-16T03:11:10Z</dcterms:modified>
</cp:coreProperties>
</file>